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76" r:id="rId1"/>
  </p:sldMasterIdLst>
  <p:notesMasterIdLst>
    <p:notesMasterId r:id="rId39"/>
  </p:notesMasterIdLst>
  <p:sldIdLst>
    <p:sldId id="289" r:id="rId2"/>
    <p:sldId id="294" r:id="rId3"/>
    <p:sldId id="257" r:id="rId4"/>
    <p:sldId id="348" r:id="rId5"/>
    <p:sldId id="350" r:id="rId6"/>
    <p:sldId id="349" r:id="rId7"/>
    <p:sldId id="351" r:id="rId8"/>
    <p:sldId id="330" r:id="rId9"/>
    <p:sldId id="331" r:id="rId10"/>
    <p:sldId id="332" r:id="rId11"/>
    <p:sldId id="315" r:id="rId12"/>
    <p:sldId id="316" r:id="rId13"/>
    <p:sldId id="334" r:id="rId14"/>
    <p:sldId id="335" r:id="rId15"/>
    <p:sldId id="336" r:id="rId16"/>
    <p:sldId id="337" r:id="rId17"/>
    <p:sldId id="338" r:id="rId18"/>
    <p:sldId id="339" r:id="rId19"/>
    <p:sldId id="328" r:id="rId20"/>
    <p:sldId id="295" r:id="rId21"/>
    <p:sldId id="302" r:id="rId22"/>
    <p:sldId id="340" r:id="rId23"/>
    <p:sldId id="341" r:id="rId24"/>
    <p:sldId id="296" r:id="rId25"/>
    <p:sldId id="342" r:id="rId26"/>
    <p:sldId id="343" r:id="rId27"/>
    <p:sldId id="344" r:id="rId28"/>
    <p:sldId id="345" r:id="rId29"/>
    <p:sldId id="346" r:id="rId30"/>
    <p:sldId id="347" r:id="rId31"/>
    <p:sldId id="297" r:id="rId32"/>
    <p:sldId id="298" r:id="rId33"/>
    <p:sldId id="352" r:id="rId34"/>
    <p:sldId id="353" r:id="rId35"/>
    <p:sldId id="354" r:id="rId36"/>
    <p:sldId id="355" r:id="rId37"/>
    <p:sldId id="286" r:id="rId38"/>
  </p:sldIdLst>
  <p:sldSz cx="9699625" cy="6858000"/>
  <p:notesSz cx="6858000" cy="9144000"/>
  <p:custDataLst>
    <p:tags r:id="rId4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05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87878"/>
    <a:srgbClr val="1450C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1795" autoAdjust="0"/>
  </p:normalViewPr>
  <p:slideViewPr>
    <p:cSldViewPr snapToGrid="0">
      <p:cViewPr>
        <p:scale>
          <a:sx n="100" d="100"/>
          <a:sy n="100" d="100"/>
        </p:scale>
        <p:origin x="1044" y="72"/>
      </p:cViewPr>
      <p:guideLst>
        <p:guide orient="horz" pos="2160"/>
        <p:guide pos="305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pt-BR" sz="1200" b="0" i="0" u="none" strike="noStrike" cap="none">
                <a:solidFill>
                  <a:schemeClr val="dk1"/>
                </a:solidFill>
                <a:latin typeface="Calibri"/>
                <a:ea typeface="Calibri"/>
                <a:cs typeface="Calibri"/>
                <a:sym typeface="Calibri"/>
              </a:rPr>
              <a:t>‹nº›</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
        <p:cNvGrpSpPr/>
        <p:nvPr/>
      </p:nvGrpSpPr>
      <p:grpSpPr>
        <a:xfrm>
          <a:off x="0" y="0"/>
          <a:ext cx="0" cy="0"/>
          <a:chOff x="0" y="0"/>
          <a:chExt cx="0" cy="0"/>
        </a:xfrm>
      </p:grpSpPr>
      <p:sp>
        <p:nvSpPr>
          <p:cNvPr id="226" name="Google Shape;226;p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7" name="Google Shape;227;p1: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372194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Mental workload is one of the main concepts studied in Human Factors (STANTON </a:t>
            </a:r>
            <a:r>
              <a:rPr lang="en-US" sz="1800" b="0" i="1" dirty="0">
                <a:solidFill>
                  <a:srgbClr val="000000"/>
                </a:solidFill>
                <a:effectLst/>
                <a:latin typeface="CMTI12"/>
              </a:rPr>
              <a:t>et al.</a:t>
            </a:r>
            <a:r>
              <a:rPr lang="en-US" sz="1800" b="0" i="0" dirty="0">
                <a:solidFill>
                  <a:srgbClr val="000000"/>
                </a:solidFill>
                <a:effectLst/>
                <a:latin typeface="CMR12"/>
              </a:rPr>
              <a:t>, 200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explain it, Stanton </a:t>
            </a:r>
            <a:r>
              <a:rPr lang="en-US" sz="1800" b="0" i="1" dirty="0">
                <a:solidFill>
                  <a:srgbClr val="000000"/>
                </a:solidFill>
                <a:effectLst/>
                <a:latin typeface="CMTI12"/>
              </a:rPr>
              <a:t>et al. </a:t>
            </a:r>
            <a:r>
              <a:rPr lang="en-US" sz="1800" b="0" i="0" dirty="0">
                <a:solidFill>
                  <a:srgbClr val="000000"/>
                </a:solidFill>
                <a:effectLst/>
                <a:latin typeface="CMR12"/>
              </a:rPr>
              <a:t>(2004) propose an analogy with the concept of physical workload. When an athlete must lift a dumbbell (one of those gym weights bars), the strength demand from the athlete is proportional to the dumbbell’s mass being lifted. If the dumbbell is lighter than the athlete’s capability, it is easy enough for him to lift it. If the athlete is strong enough to carry the dumbbell, he does not feel a physical demand bigger than his capabilities. In this case, the physical workload of this activity is appropriately fitted for this athlete. Two things can happen if the dumbbell is heavier than the athlete’s capability. Either the athlete adapts to lift the dumbbell using tools (adjust the strategy), or the dumbbell is not lifted completely (performance degrades). This situation corresponds to the case of a operator executing a task, which is not fitted for his capabiliti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similar to the physical workload but refers to the mental capacity necessary to perform a task. Each human being has a finite mental capacity. When the mental demand is higher than the operator’s capacity, the person needs to adapt to finish the task, or the overall performance of the task is compromised. Otherwise, if the mental workload is too low, the operator may get bored and easily distracted and could also fail or not process the task’s inform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important to say that mental workload is unique within each individual. It is influenced by the operator perception and also by other factors outside the task itself.</a:t>
            </a:r>
            <a:br>
              <a:rPr lang="en-US" sz="1800" b="0" i="0" dirty="0">
                <a:solidFill>
                  <a:srgbClr val="000000"/>
                </a:solidFill>
                <a:effectLst/>
                <a:latin typeface="CMR12"/>
              </a:rPr>
            </a:br>
            <a:r>
              <a:rPr lang="en-US" sz="1800" b="0" i="0" dirty="0">
                <a:solidFill>
                  <a:srgbClr val="000000"/>
                </a:solidFill>
                <a:effectLst/>
                <a:latin typeface="CMR12"/>
              </a:rPr>
              <a:t>These factor can be more related to the operator (like its skill, age, education, training) or the environment (like noise, heat and toxicity) (CAIN, 2007; FALLAHI </a:t>
            </a:r>
            <a:r>
              <a:rPr lang="en-US" sz="1800" b="0" i="1" dirty="0">
                <a:solidFill>
                  <a:srgbClr val="000000"/>
                </a:solidFill>
                <a:effectLst/>
                <a:latin typeface="CMTI12"/>
              </a:rPr>
              <a:t>et al.</a:t>
            </a:r>
            <a:r>
              <a:rPr lang="en-US" sz="1800" b="0" i="0" dirty="0">
                <a:solidFill>
                  <a:srgbClr val="000000"/>
                </a:solidFill>
                <a:effectLst/>
                <a:latin typeface="CMR12"/>
              </a:rPr>
              <a:t>, 2016;</a:t>
            </a:r>
            <a:br>
              <a:rPr lang="en-US" sz="1800" b="0" i="0" dirty="0">
                <a:solidFill>
                  <a:srgbClr val="000000"/>
                </a:solidFill>
                <a:effectLst/>
                <a:latin typeface="CMR12"/>
              </a:rPr>
            </a:br>
            <a:r>
              <a:rPr lang="en-US" sz="1800" b="0" i="0" dirty="0">
                <a:solidFill>
                  <a:srgbClr val="000000"/>
                </a:solidFill>
                <a:effectLst/>
                <a:latin typeface="CMR12"/>
              </a:rPr>
              <a:t>CARDOSO; GONTIJO, 2012).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not a quantitative resource or something that one can directly measure, but several different methods have been proposed in the literature to infer it. Figure 2.2 illustrates three different classes of methods used to evaluate mental workload: methods based on task performance, methods based on physiological measures and methods based on subjective questionnair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task performance</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If the mental workload influences the task performance, it would be possible to infer it using the performance’s variation of a task. Because there are cases where the user’s mental capacity is too high for only one task, a common approach is to add a secondary task. In this case, the user is asked to maintain a good performance level and still try to execute both tasks. Both tasks should use the same skills (STANTON </a:t>
            </a:r>
            <a:r>
              <a:rPr lang="en-US" sz="1800" b="0" i="1" dirty="0">
                <a:solidFill>
                  <a:srgbClr val="000000"/>
                </a:solidFill>
                <a:effectLst/>
                <a:latin typeface="CMTI12"/>
              </a:rPr>
              <a:t>et al.</a:t>
            </a:r>
            <a:r>
              <a:rPr lang="en-US" sz="1800" b="0" i="0" dirty="0">
                <a:solidFill>
                  <a:srgbClr val="000000"/>
                </a:solidFill>
                <a:effectLst/>
                <a:latin typeface="CMR12"/>
              </a:rPr>
              <a:t>, 2004; SANDERS; MCCORMICK, 1998).</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or example, an experiment to assess mental workload in a flight simulator may use two tasks. The primary task is to fly the aircraft while maintaining a performance level. The second is something simple, like mentally summing two random numbers that appear on the screen. If the numbers’ sum is odd, the pilot should press the left arrow key on the keyboard, otherwise should press the right arrow key. If the pilot’s performance in the secondary task is too low, it means that the mental demand from the first task is too high to pay attention to the second task (MOHANAVELU </a:t>
            </a:r>
            <a:r>
              <a:rPr lang="en-US" sz="1800" b="0" i="1" dirty="0">
                <a:solidFill>
                  <a:srgbClr val="000000"/>
                </a:solidFill>
                <a:effectLst/>
                <a:latin typeface="CMTI12"/>
              </a:rPr>
              <a:t>et al.</a:t>
            </a:r>
            <a:r>
              <a:rPr lang="en-US" sz="1800" b="0" i="0" dirty="0">
                <a:solidFill>
                  <a:srgbClr val="000000"/>
                </a:solidFill>
                <a:effectLst/>
                <a:latin typeface="CMR12"/>
              </a:rPr>
              <a:t>, 2020).</a:t>
            </a:r>
          </a:p>
          <a:p>
            <a:pPr marL="0" lvl="0" indent="0" algn="l" rtl="0">
              <a:spcBef>
                <a:spcPts val="0"/>
              </a:spcBef>
              <a:spcAft>
                <a:spcPts val="0"/>
              </a:spcAft>
              <a:buNone/>
            </a:pPr>
            <a:br>
              <a:rPr lang="en-US" sz="1800" b="0" i="0" dirty="0">
                <a:solidFill>
                  <a:srgbClr val="000000"/>
                </a:solidFill>
                <a:effectLst/>
                <a:latin typeface="CMR12"/>
              </a:rPr>
            </a:br>
            <a:r>
              <a:rPr lang="en-US" sz="1800" b="1" i="0" dirty="0">
                <a:solidFill>
                  <a:srgbClr val="000000"/>
                </a:solidFill>
                <a:effectLst/>
                <a:latin typeface="CMB10"/>
              </a:rPr>
              <a:t>Methods based on physiological measurement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Many physiological measurements can be used to assess mental workload. The most common ones are heart and brain activity (CHAKLADAR </a:t>
            </a:r>
            <a:r>
              <a:rPr lang="en-US" sz="1800" b="0" i="1" dirty="0">
                <a:solidFill>
                  <a:srgbClr val="000000"/>
                </a:solidFill>
                <a:effectLst/>
                <a:latin typeface="CMTI12"/>
              </a:rPr>
              <a:t>et al.</a:t>
            </a:r>
            <a:r>
              <a:rPr lang="en-US" sz="1800" b="0" i="0" dirty="0">
                <a:solidFill>
                  <a:srgbClr val="000000"/>
                </a:solidFill>
                <a:effectLst/>
                <a:latin typeface="CMR12"/>
              </a:rPr>
              <a:t>, 2020; ORLANDI;</a:t>
            </a:r>
            <a:br>
              <a:rPr lang="en-US" sz="1800" b="0" i="0" dirty="0">
                <a:solidFill>
                  <a:srgbClr val="000000"/>
                </a:solidFill>
                <a:effectLst/>
                <a:latin typeface="CMR12"/>
              </a:rPr>
            </a:br>
            <a:r>
              <a:rPr lang="en-US" sz="1800" b="0" i="0" dirty="0">
                <a:solidFill>
                  <a:srgbClr val="000000"/>
                </a:solidFill>
                <a:effectLst/>
                <a:latin typeface="CMR12"/>
              </a:rPr>
              <a:t>BROOKS, 2018), skin conductance, eye movement and pupillary contraction (STANTON </a:t>
            </a:r>
            <a:r>
              <a:rPr lang="en-US" sz="1800" b="0" i="1" dirty="0">
                <a:solidFill>
                  <a:srgbClr val="000000"/>
                </a:solidFill>
                <a:effectLst/>
                <a:latin typeface="CMTI12"/>
              </a:rPr>
              <a:t>et al.</a:t>
            </a:r>
            <a:r>
              <a:rPr lang="en-US" sz="1800" b="0" i="0" dirty="0">
                <a:solidFill>
                  <a:srgbClr val="000000"/>
                </a:solidFill>
                <a:effectLst/>
                <a:latin typeface="CMR12"/>
              </a:rPr>
              <a:t>, 2004; RODR´IGUEZ </a:t>
            </a:r>
            <a:r>
              <a:rPr lang="en-US" sz="1800" b="0" i="1" dirty="0">
                <a:solidFill>
                  <a:srgbClr val="000000"/>
                </a:solidFill>
                <a:effectLst/>
                <a:latin typeface="CMTI12"/>
              </a:rPr>
              <a:t>et al.</a:t>
            </a:r>
            <a:r>
              <a:rPr lang="en-US" sz="1800" b="0" i="0" dirty="0">
                <a:solidFill>
                  <a:srgbClr val="000000"/>
                </a:solidFill>
                <a:effectLst/>
                <a:latin typeface="CMR12"/>
              </a:rPr>
              <a:t>, 2015). These measurements are considered an</a:t>
            </a:r>
            <a:br>
              <a:rPr lang="en-US" sz="1800" b="0" i="0" dirty="0">
                <a:solidFill>
                  <a:srgbClr val="000000"/>
                </a:solidFill>
                <a:effectLst/>
                <a:latin typeface="CMR12"/>
              </a:rPr>
            </a:br>
            <a:r>
              <a:rPr lang="en-US" sz="1800" b="0" i="0" dirty="0">
                <a:solidFill>
                  <a:srgbClr val="000000"/>
                </a:solidFill>
                <a:effectLst/>
                <a:latin typeface="CMR12"/>
              </a:rPr>
              <a:t>unbiased assessment method (FALLAHI </a:t>
            </a:r>
            <a:r>
              <a:rPr lang="en-US" sz="1800" b="0" i="1" dirty="0">
                <a:solidFill>
                  <a:srgbClr val="000000"/>
                </a:solidFill>
                <a:effectLst/>
                <a:latin typeface="CMTI12"/>
              </a:rPr>
              <a:t>et al.</a:t>
            </a:r>
            <a:r>
              <a:rPr lang="en-US" sz="1800" b="0" i="0" dirty="0">
                <a:solidFill>
                  <a:srgbClr val="000000"/>
                </a:solidFill>
                <a:effectLst/>
                <a:latin typeface="CMR12"/>
              </a:rPr>
              <a:t>, 2016). It is recommended to evaluate them alongside another method, as they can be influenced by unknown variables and</a:t>
            </a:r>
            <a:br>
              <a:rPr lang="en-US" sz="1800" b="0" i="0" dirty="0">
                <a:solidFill>
                  <a:srgbClr val="000000"/>
                </a:solidFill>
                <a:effectLst/>
                <a:latin typeface="CMR12"/>
              </a:rPr>
            </a:br>
            <a:r>
              <a:rPr lang="en-US" sz="1800" b="0" i="0" dirty="0">
                <a:solidFill>
                  <a:srgbClr val="000000"/>
                </a:solidFill>
                <a:effectLst/>
                <a:latin typeface="CMR12"/>
              </a:rPr>
              <a:t>external factor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is work uses heart activity, obtained from an electrocardiogram (ECG) sensor, and electrodermal activity, obtained from a galvanic skin response (GSR) sensor, as physiological measurements to assess mental workload.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electrocardiogram (ECG) is a recording of the heart’s electrical activity. From it, it is possible to determine the intervals between heartbeats and the corresponding frequency (heart rate, HR). Another common variable is the heart rate standard deviation (heart rate variability, HRV) (CAIN, 2007). The heart activity is controlled by the sympathetic and parasympathetic nervous systems (STANTON </a:t>
            </a:r>
            <a:r>
              <a:rPr lang="en-US" sz="1800" b="0" i="1" dirty="0">
                <a:solidFill>
                  <a:srgbClr val="000000"/>
                </a:solidFill>
                <a:effectLst/>
                <a:latin typeface="CMTI12"/>
              </a:rPr>
              <a:t>et al.</a:t>
            </a:r>
            <a:r>
              <a:rPr lang="en-US" sz="1800" b="0" i="0" dirty="0">
                <a:solidFill>
                  <a:srgbClr val="000000"/>
                </a:solidFill>
                <a:effectLst/>
                <a:latin typeface="CMR12"/>
              </a:rPr>
              <a:t>, 2004). During a task, the heart activity changes with the mental demand of the task. The heart rate is expected to increase with the mental workload, while the heart rate variability is expected to decrease. These are consequences of two reactions in our system when in a mental demand situation (STANTON </a:t>
            </a:r>
            <a:r>
              <a:rPr lang="en-US" sz="1800" b="0" i="1" dirty="0">
                <a:solidFill>
                  <a:srgbClr val="000000"/>
                </a:solidFill>
                <a:effectLst/>
                <a:latin typeface="CMTI12"/>
              </a:rPr>
              <a:t>et al.</a:t>
            </a:r>
            <a:r>
              <a:rPr lang="en-US" sz="1800" b="0" i="0" dirty="0">
                <a:solidFill>
                  <a:srgbClr val="000000"/>
                </a:solidFill>
                <a:effectLst/>
                <a:latin typeface="CMR12"/>
              </a:rPr>
              <a:t>, 2004): a decrease in the parasympathetic nervous system activity and an increase in sympathetic nervous system activity. The ECG is a simple and non-invasive method used in many experiments to evaluate mental workload and other human factors’ (MOHANAVELU </a:t>
            </a:r>
            <a:r>
              <a:rPr lang="en-US" sz="1800" b="0" i="1" dirty="0">
                <a:solidFill>
                  <a:srgbClr val="000000"/>
                </a:solidFill>
                <a:effectLst/>
                <a:latin typeface="CMTI12"/>
              </a:rPr>
              <a:t>et al.</a:t>
            </a:r>
            <a:r>
              <a:rPr lang="en-US" sz="1800" b="0" i="0" dirty="0">
                <a:solidFill>
                  <a:srgbClr val="000000"/>
                </a:solidFill>
                <a:effectLst/>
                <a:latin typeface="CMR12"/>
              </a:rPr>
              <a:t>, 2020; MANSIKKA </a:t>
            </a:r>
            <a:r>
              <a:rPr lang="en-US" sz="1800" b="0" i="1" dirty="0">
                <a:solidFill>
                  <a:srgbClr val="000000"/>
                </a:solidFill>
                <a:effectLst/>
                <a:latin typeface="CMTI12"/>
              </a:rPr>
              <a:t>et al.</a:t>
            </a:r>
            <a:r>
              <a:rPr lang="en-US" sz="1800" b="0" i="0" dirty="0">
                <a:solidFill>
                  <a:srgbClr val="000000"/>
                </a:solidFill>
                <a:effectLst/>
                <a:latin typeface="CMR12"/>
              </a:rPr>
              <a:t>, 2016; ZHANG </a:t>
            </a:r>
            <a:r>
              <a:rPr lang="en-US" sz="1800" b="0" i="1" dirty="0">
                <a:solidFill>
                  <a:srgbClr val="000000"/>
                </a:solidFill>
                <a:effectLst/>
                <a:latin typeface="CMTI12"/>
              </a:rPr>
              <a:t>et al.</a:t>
            </a:r>
            <a:r>
              <a:rPr lang="en-US" sz="1800" b="0" i="0" dirty="0">
                <a:solidFill>
                  <a:srgbClr val="000000"/>
                </a:solidFill>
                <a:effectLst/>
                <a:latin typeface="CMR12"/>
              </a:rPr>
              <a:t>, 201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skin electrodermal activity is affected by the person’s sweating and the level of moisture in the environment. It can be used to reveal changes in our sympathetic system (NOURBAKHSH </a:t>
            </a:r>
            <a:r>
              <a:rPr lang="en-US" sz="1800" b="0" i="1" dirty="0">
                <a:solidFill>
                  <a:srgbClr val="000000"/>
                </a:solidFill>
                <a:effectLst/>
                <a:latin typeface="CMTI12"/>
              </a:rPr>
              <a:t>et al.</a:t>
            </a:r>
            <a:r>
              <a:rPr lang="en-US" sz="1800" b="0" i="0" dirty="0">
                <a:solidFill>
                  <a:srgbClr val="000000"/>
                </a:solidFill>
                <a:effectLst/>
                <a:latin typeface="CMR12"/>
              </a:rPr>
              <a:t>, 2012; SHI </a:t>
            </a:r>
            <a:r>
              <a:rPr lang="en-US" sz="1800" b="0" i="1" dirty="0">
                <a:solidFill>
                  <a:srgbClr val="000000"/>
                </a:solidFill>
                <a:effectLst/>
                <a:latin typeface="CMTI12"/>
              </a:rPr>
              <a:t>et al.</a:t>
            </a:r>
            <a:r>
              <a:rPr lang="en-US" sz="1800" b="0" i="0" dirty="0">
                <a:solidFill>
                  <a:srgbClr val="000000"/>
                </a:solidFill>
                <a:effectLst/>
                <a:latin typeface="CMR12"/>
              </a:rPr>
              <a:t>, 2007). It has been used in the literature as an assessment method for stress and arousal (NOURBAKHSH </a:t>
            </a:r>
            <a:r>
              <a:rPr lang="en-US" sz="1800" b="0" i="1" dirty="0">
                <a:solidFill>
                  <a:srgbClr val="000000"/>
                </a:solidFill>
                <a:effectLst/>
                <a:latin typeface="CMTI12"/>
              </a:rPr>
              <a:t>et al.</a:t>
            </a:r>
            <a:r>
              <a:rPr lang="en-US" sz="1800" b="0" i="0" dirty="0">
                <a:solidFill>
                  <a:srgbClr val="000000"/>
                </a:solidFill>
                <a:effectLst/>
                <a:latin typeface="CMR12"/>
              </a:rPr>
              <a:t>, 2012; STANTON </a:t>
            </a:r>
            <a:r>
              <a:rPr lang="en-US" sz="1800" b="0" i="1" dirty="0">
                <a:solidFill>
                  <a:srgbClr val="000000"/>
                </a:solidFill>
                <a:effectLst/>
                <a:latin typeface="CMTI12"/>
              </a:rPr>
              <a:t>et al.</a:t>
            </a:r>
            <a:r>
              <a:rPr lang="en-US" sz="1800" b="0" i="0" dirty="0">
                <a:solidFill>
                  <a:srgbClr val="000000"/>
                </a:solidFill>
                <a:effectLst/>
                <a:latin typeface="CMR12"/>
              </a:rPr>
              <a:t>, 2004; SHI </a:t>
            </a:r>
            <a:r>
              <a:rPr lang="en-US" sz="1800" b="0" i="1" dirty="0">
                <a:solidFill>
                  <a:srgbClr val="000000"/>
                </a:solidFill>
                <a:effectLst/>
                <a:latin typeface="CMTI12"/>
              </a:rPr>
              <a:t>et al.</a:t>
            </a:r>
            <a:r>
              <a:rPr lang="en-US" sz="1800" b="0" i="0" dirty="0">
                <a:solidFill>
                  <a:srgbClr val="000000"/>
                </a:solidFill>
                <a:effectLst/>
                <a:latin typeface="CMR12"/>
              </a:rPr>
              <a:t>, 2007), the usability of human-computer systems (SHI </a:t>
            </a:r>
            <a:r>
              <a:rPr lang="en-US" sz="1800" b="0" i="1" dirty="0">
                <a:solidFill>
                  <a:srgbClr val="000000"/>
                </a:solidFill>
                <a:effectLst/>
                <a:latin typeface="CMTI12"/>
              </a:rPr>
              <a:t>et al.</a:t>
            </a:r>
            <a:r>
              <a:rPr lang="en-US" sz="1800" b="0" i="0" dirty="0">
                <a:solidFill>
                  <a:srgbClr val="000000"/>
                </a:solidFill>
                <a:effectLst/>
                <a:latin typeface="CMR12"/>
              </a:rPr>
              <a:t>, 2007) and also mental workload (ZHANG </a:t>
            </a:r>
            <a:r>
              <a:rPr lang="en-US" sz="1800" b="0" i="1" dirty="0">
                <a:solidFill>
                  <a:srgbClr val="000000"/>
                </a:solidFill>
                <a:effectLst/>
                <a:latin typeface="CMTI12"/>
              </a:rPr>
              <a:t>et al.</a:t>
            </a:r>
            <a:r>
              <a:rPr lang="en-US" sz="1800" b="0" i="0" dirty="0">
                <a:solidFill>
                  <a:srgbClr val="000000"/>
                </a:solidFill>
                <a:effectLst/>
                <a:latin typeface="CMR12"/>
              </a:rPr>
              <a:t>, 2014; BORGHINI </a:t>
            </a:r>
            <a:r>
              <a:rPr lang="en-US" sz="1800" b="0" i="1" dirty="0">
                <a:solidFill>
                  <a:srgbClr val="000000"/>
                </a:solidFill>
                <a:effectLst/>
                <a:latin typeface="CMTI12"/>
              </a:rPr>
              <a:t>et al.</a:t>
            </a:r>
            <a:r>
              <a:rPr lang="en-US" sz="1800" b="0" i="0" dirty="0">
                <a:solidFill>
                  <a:srgbClr val="000000"/>
                </a:solidFill>
                <a:effectLst/>
                <a:latin typeface="CMR12"/>
              </a:rPr>
              <a:t>, 2014).</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subjective questionnaire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The use of subjective questionnaires to assess mental workload has been extensively discussed in the literature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a:t>
            </a:r>
            <a:br>
              <a:rPr lang="en-US" sz="1800" b="0" i="0" dirty="0">
                <a:solidFill>
                  <a:srgbClr val="000000"/>
                </a:solidFill>
                <a:effectLst/>
                <a:latin typeface="CMR12"/>
              </a:rPr>
            </a:br>
            <a:r>
              <a:rPr lang="en-US" sz="1800" b="0" i="0" dirty="0">
                <a:solidFill>
                  <a:srgbClr val="000000"/>
                </a:solidFill>
                <a:effectLst/>
                <a:latin typeface="CMR12"/>
              </a:rPr>
              <a:t>They are sensitive to perceived difficulty, automation, concurrent activities and demand for multiple resources. The questionnaires can 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discussed if one should only use subjective measures to measure MWL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 They are sensitive to perceived difficulty, automation, concurrent activities and demand for multiple resources. These tests can</a:t>
            </a:r>
            <a:br>
              <a:rPr lang="en-US" sz="1800" b="0" i="0" dirty="0">
                <a:solidFill>
                  <a:srgbClr val="000000"/>
                </a:solidFill>
                <a:effectLst/>
                <a:latin typeface="CMR12"/>
              </a:rPr>
            </a:br>
            <a:r>
              <a:rPr lang="en-US" sz="1800" b="0" i="0" dirty="0">
                <a:solidFill>
                  <a:srgbClr val="000000"/>
                </a:solidFill>
                <a:effectLst/>
                <a:latin typeface="CMR12"/>
              </a:rPr>
              <a:t>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STANTON </a:t>
            </a:r>
            <a:r>
              <a:rPr lang="en-US" sz="1800" b="0" i="1" dirty="0">
                <a:solidFill>
                  <a:srgbClr val="000000"/>
                </a:solidFill>
                <a:effectLst/>
                <a:latin typeface="CMTI12"/>
              </a:rPr>
              <a:t>et al.</a:t>
            </a:r>
            <a:r>
              <a:rPr lang="en-US" sz="1800" b="0" i="0" dirty="0">
                <a:solidFill>
                  <a:srgbClr val="000000"/>
                </a:solidFill>
                <a:effectLst/>
                <a:latin typeface="CMR12"/>
              </a:rPr>
              <a:t>, 2004),or multidimensional. Examples of multidimensional questionnaires are the Subjective Workload Assessment Technique (SWAT) and the NASA Task Load Index (NASA-TLX). SWAT decomposes the mental in three dimensions: time load, mental effort load, and psychological stress. NASA-TLX, a questionnaire created by Hart e </a:t>
            </a:r>
            <a:r>
              <a:rPr lang="en-US" sz="1800" b="0" i="0" dirty="0" err="1">
                <a:solidFill>
                  <a:srgbClr val="000000"/>
                </a:solidFill>
                <a:effectLst/>
                <a:latin typeface="CMR12"/>
              </a:rPr>
              <a:t>Staveland</a:t>
            </a:r>
            <a:r>
              <a:rPr lang="en-US" sz="1800" b="0" i="0" dirty="0">
                <a:solidFill>
                  <a:srgbClr val="000000"/>
                </a:solidFill>
                <a:effectLst/>
                <a:latin typeface="CMR12"/>
              </a:rPr>
              <a:t> (1988), uses six dimensions, as described in Table 2.1. These questionnaires were proposed to evaluate only one task/activity. If the user has performed two tasks (a primary and secondary task), he/she should be oriented to answer about the primary task, not a combination of both (SANDERS; MCCORMICK, 1998).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inally, it is essential to highlight that, to have a comprehensive evaluation of the mental workload, not to choose only one method, but to combine methods from the three classes (task performance, physiological measurements and subjective questionnaires). Mental workload is multidimensional and can reflect partially or differently in each method (SANDERS; MCCORMICK, 1998).</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660658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Mental workload is one of the main concepts studied in Human Factors (STANTON </a:t>
            </a:r>
            <a:r>
              <a:rPr lang="en-US" sz="1800" b="0" i="1" dirty="0">
                <a:solidFill>
                  <a:srgbClr val="000000"/>
                </a:solidFill>
                <a:effectLst/>
                <a:latin typeface="CMTI12"/>
              </a:rPr>
              <a:t>et al.</a:t>
            </a:r>
            <a:r>
              <a:rPr lang="en-US" sz="1800" b="0" i="0" dirty="0">
                <a:solidFill>
                  <a:srgbClr val="000000"/>
                </a:solidFill>
                <a:effectLst/>
                <a:latin typeface="CMR12"/>
              </a:rPr>
              <a:t>, 200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explain it, Stanton </a:t>
            </a:r>
            <a:r>
              <a:rPr lang="en-US" sz="1800" b="0" i="1" dirty="0">
                <a:solidFill>
                  <a:srgbClr val="000000"/>
                </a:solidFill>
                <a:effectLst/>
                <a:latin typeface="CMTI12"/>
              </a:rPr>
              <a:t>et al. </a:t>
            </a:r>
            <a:r>
              <a:rPr lang="en-US" sz="1800" b="0" i="0" dirty="0">
                <a:solidFill>
                  <a:srgbClr val="000000"/>
                </a:solidFill>
                <a:effectLst/>
                <a:latin typeface="CMR12"/>
              </a:rPr>
              <a:t>(2004) propose an analogy with the concept of physical workload. When an athlete must lift a dumbbell (one of those gym weights bars), the strength demand from the athlete is proportional to the dumbbell’s mass being lifted. If the dumbbell is lighter than the athlete’s capability, it is easy enough for him to lift it. If the athlete is strong enough to carry the dumbbell, he does not feel a physical demand bigger than his capabilities. In this case, the physical workload of this activity is appropriately fitted for this athlete. Two things can happen if the dumbbell is heavier than the athlete’s capability. Either the athlete adapts to lift the dumbbell using tools (adjust the strategy), or the dumbbell is not lifted completely (performance degrades). This situation corresponds to the case of a operator executing a task, which is not fitted for his capabiliti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similar to the physical workload but refers to the mental capacity necessary to perform a task. Each human being has a finite mental capacity. When the mental demand is higher than the operator’s capacity, the person needs to adapt to finish the task, or the overall performance of the task is compromised. Otherwise, if the mental workload is too low, the operator may get bored and easily distracted and could also fail or not process the task’s inform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important to say that mental workload is unique within each individual. It is influenced by the operator perception and also by other factors outside the task itself.</a:t>
            </a:r>
            <a:br>
              <a:rPr lang="en-US" sz="1800" b="0" i="0" dirty="0">
                <a:solidFill>
                  <a:srgbClr val="000000"/>
                </a:solidFill>
                <a:effectLst/>
                <a:latin typeface="CMR12"/>
              </a:rPr>
            </a:br>
            <a:r>
              <a:rPr lang="en-US" sz="1800" b="0" i="0" dirty="0">
                <a:solidFill>
                  <a:srgbClr val="000000"/>
                </a:solidFill>
                <a:effectLst/>
                <a:latin typeface="CMR12"/>
              </a:rPr>
              <a:t>These factor can be more related to the operator (like its skill, age, education, training) or the environment (like noise, heat and toxicity) (CAIN, 2007; FALLAHI </a:t>
            </a:r>
            <a:r>
              <a:rPr lang="en-US" sz="1800" b="0" i="1" dirty="0">
                <a:solidFill>
                  <a:srgbClr val="000000"/>
                </a:solidFill>
                <a:effectLst/>
                <a:latin typeface="CMTI12"/>
              </a:rPr>
              <a:t>et al.</a:t>
            </a:r>
            <a:r>
              <a:rPr lang="en-US" sz="1800" b="0" i="0" dirty="0">
                <a:solidFill>
                  <a:srgbClr val="000000"/>
                </a:solidFill>
                <a:effectLst/>
                <a:latin typeface="CMR12"/>
              </a:rPr>
              <a:t>, 2016;</a:t>
            </a:r>
            <a:br>
              <a:rPr lang="en-US" sz="1800" b="0" i="0" dirty="0">
                <a:solidFill>
                  <a:srgbClr val="000000"/>
                </a:solidFill>
                <a:effectLst/>
                <a:latin typeface="CMR12"/>
              </a:rPr>
            </a:br>
            <a:r>
              <a:rPr lang="en-US" sz="1800" b="0" i="0" dirty="0">
                <a:solidFill>
                  <a:srgbClr val="000000"/>
                </a:solidFill>
                <a:effectLst/>
                <a:latin typeface="CMR12"/>
              </a:rPr>
              <a:t>CARDOSO; GONTIJO, 2012).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not a quantitative resource or something that one can directly measure, but several different methods have been proposed in the literature to infer it. Figure 2.2 illustrates three different classes of methods used to evaluate mental workload: methods based on task performance, methods based on physiological measures and methods based on subjective questionnair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task performance</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If the mental workload influences the task performance, it would be possible to infer it using the performance’s variation of a task. Because there are cases where the user’s mental capacity is too high for only one task, a common approach is to add a secondary task. In this case, the user is asked to maintain a good performance level and still try to execute both tasks. Both tasks should use the same skills (STANTON </a:t>
            </a:r>
            <a:r>
              <a:rPr lang="en-US" sz="1800" b="0" i="1" dirty="0">
                <a:solidFill>
                  <a:srgbClr val="000000"/>
                </a:solidFill>
                <a:effectLst/>
                <a:latin typeface="CMTI12"/>
              </a:rPr>
              <a:t>et al.</a:t>
            </a:r>
            <a:r>
              <a:rPr lang="en-US" sz="1800" b="0" i="0" dirty="0">
                <a:solidFill>
                  <a:srgbClr val="000000"/>
                </a:solidFill>
                <a:effectLst/>
                <a:latin typeface="CMR12"/>
              </a:rPr>
              <a:t>, 2004; SANDERS; MCCORMICK, 1998).</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or example, an experiment to assess mental workload in a flight simulator may use two tasks. The primary task is to fly the aircraft while maintaining a performance level. The second is something simple, like mentally summing two random numbers that appear on the screen. If the numbers’ sum is odd, the pilot should press the left arrow key on the keyboard, otherwise should press the right arrow key. If the pilot’s performance in the secondary task is too low, it means that the mental demand from the first task is too high to pay attention to the second task (MOHANAVELU </a:t>
            </a:r>
            <a:r>
              <a:rPr lang="en-US" sz="1800" b="0" i="1" dirty="0">
                <a:solidFill>
                  <a:srgbClr val="000000"/>
                </a:solidFill>
                <a:effectLst/>
                <a:latin typeface="CMTI12"/>
              </a:rPr>
              <a:t>et al.</a:t>
            </a:r>
            <a:r>
              <a:rPr lang="en-US" sz="1800" b="0" i="0" dirty="0">
                <a:solidFill>
                  <a:srgbClr val="000000"/>
                </a:solidFill>
                <a:effectLst/>
                <a:latin typeface="CMR12"/>
              </a:rPr>
              <a:t>, 2020).</a:t>
            </a:r>
          </a:p>
          <a:p>
            <a:pPr marL="0" lvl="0" indent="0" algn="l" rtl="0">
              <a:spcBef>
                <a:spcPts val="0"/>
              </a:spcBef>
              <a:spcAft>
                <a:spcPts val="0"/>
              </a:spcAft>
              <a:buNone/>
            </a:pPr>
            <a:br>
              <a:rPr lang="en-US" sz="1800" b="0" i="0" dirty="0">
                <a:solidFill>
                  <a:srgbClr val="000000"/>
                </a:solidFill>
                <a:effectLst/>
                <a:latin typeface="CMR12"/>
              </a:rPr>
            </a:br>
            <a:r>
              <a:rPr lang="en-US" sz="1800" b="1" i="0" dirty="0">
                <a:solidFill>
                  <a:srgbClr val="000000"/>
                </a:solidFill>
                <a:effectLst/>
                <a:latin typeface="CMB10"/>
              </a:rPr>
              <a:t>Methods based on physiological measurement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Many physiological measurements can be used to assess mental workload. The most common ones are heart and brain activity (CHAKLADAR </a:t>
            </a:r>
            <a:r>
              <a:rPr lang="en-US" sz="1800" b="0" i="1" dirty="0">
                <a:solidFill>
                  <a:srgbClr val="000000"/>
                </a:solidFill>
                <a:effectLst/>
                <a:latin typeface="CMTI12"/>
              </a:rPr>
              <a:t>et al.</a:t>
            </a:r>
            <a:r>
              <a:rPr lang="en-US" sz="1800" b="0" i="0" dirty="0">
                <a:solidFill>
                  <a:srgbClr val="000000"/>
                </a:solidFill>
                <a:effectLst/>
                <a:latin typeface="CMR12"/>
              </a:rPr>
              <a:t>, 2020; ORLANDI;</a:t>
            </a:r>
            <a:br>
              <a:rPr lang="en-US" sz="1800" b="0" i="0" dirty="0">
                <a:solidFill>
                  <a:srgbClr val="000000"/>
                </a:solidFill>
                <a:effectLst/>
                <a:latin typeface="CMR12"/>
              </a:rPr>
            </a:br>
            <a:r>
              <a:rPr lang="en-US" sz="1800" b="0" i="0" dirty="0">
                <a:solidFill>
                  <a:srgbClr val="000000"/>
                </a:solidFill>
                <a:effectLst/>
                <a:latin typeface="CMR12"/>
              </a:rPr>
              <a:t>BROOKS, 2018), skin conductance, eye movement and pupillary contraction (STANTON </a:t>
            </a:r>
            <a:r>
              <a:rPr lang="en-US" sz="1800" b="0" i="1" dirty="0">
                <a:solidFill>
                  <a:srgbClr val="000000"/>
                </a:solidFill>
                <a:effectLst/>
                <a:latin typeface="CMTI12"/>
              </a:rPr>
              <a:t>et al.</a:t>
            </a:r>
            <a:r>
              <a:rPr lang="en-US" sz="1800" b="0" i="0" dirty="0">
                <a:solidFill>
                  <a:srgbClr val="000000"/>
                </a:solidFill>
                <a:effectLst/>
                <a:latin typeface="CMR12"/>
              </a:rPr>
              <a:t>, 2004; RODR´IGUEZ </a:t>
            </a:r>
            <a:r>
              <a:rPr lang="en-US" sz="1800" b="0" i="1" dirty="0">
                <a:solidFill>
                  <a:srgbClr val="000000"/>
                </a:solidFill>
                <a:effectLst/>
                <a:latin typeface="CMTI12"/>
              </a:rPr>
              <a:t>et al.</a:t>
            </a:r>
            <a:r>
              <a:rPr lang="en-US" sz="1800" b="0" i="0" dirty="0">
                <a:solidFill>
                  <a:srgbClr val="000000"/>
                </a:solidFill>
                <a:effectLst/>
                <a:latin typeface="CMR12"/>
              </a:rPr>
              <a:t>, 2015). These measurements are considered an</a:t>
            </a:r>
            <a:br>
              <a:rPr lang="en-US" sz="1800" b="0" i="0" dirty="0">
                <a:solidFill>
                  <a:srgbClr val="000000"/>
                </a:solidFill>
                <a:effectLst/>
                <a:latin typeface="CMR12"/>
              </a:rPr>
            </a:br>
            <a:r>
              <a:rPr lang="en-US" sz="1800" b="0" i="0" dirty="0">
                <a:solidFill>
                  <a:srgbClr val="000000"/>
                </a:solidFill>
                <a:effectLst/>
                <a:latin typeface="CMR12"/>
              </a:rPr>
              <a:t>unbiased assessment method (FALLAHI </a:t>
            </a:r>
            <a:r>
              <a:rPr lang="en-US" sz="1800" b="0" i="1" dirty="0">
                <a:solidFill>
                  <a:srgbClr val="000000"/>
                </a:solidFill>
                <a:effectLst/>
                <a:latin typeface="CMTI12"/>
              </a:rPr>
              <a:t>et al.</a:t>
            </a:r>
            <a:r>
              <a:rPr lang="en-US" sz="1800" b="0" i="0" dirty="0">
                <a:solidFill>
                  <a:srgbClr val="000000"/>
                </a:solidFill>
                <a:effectLst/>
                <a:latin typeface="CMR12"/>
              </a:rPr>
              <a:t>, 2016). It is recommended to evaluate them alongside another method, as they can be influenced by unknown variables and</a:t>
            </a:r>
            <a:br>
              <a:rPr lang="en-US" sz="1800" b="0" i="0" dirty="0">
                <a:solidFill>
                  <a:srgbClr val="000000"/>
                </a:solidFill>
                <a:effectLst/>
                <a:latin typeface="CMR12"/>
              </a:rPr>
            </a:br>
            <a:r>
              <a:rPr lang="en-US" sz="1800" b="0" i="0" dirty="0">
                <a:solidFill>
                  <a:srgbClr val="000000"/>
                </a:solidFill>
                <a:effectLst/>
                <a:latin typeface="CMR12"/>
              </a:rPr>
              <a:t>external factor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is work uses heart activity, obtained from an electrocardiogram (ECG) sensor, and electrodermal activity, obtained from a galvanic skin response (GSR) sensor, as physiological measurements to assess mental workload.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electrocardiogram (ECG) is a recording of the heart’s electrical activity. From it, it is possible to determine the intervals between heartbeats and the corresponding frequency (heart rate, HR). Another common variable is the heart rate standard deviation (heart rate variability, HRV) (CAIN, 2007). The heart activity is controlled by the sympathetic and parasympathetic nervous systems (STANTON </a:t>
            </a:r>
            <a:r>
              <a:rPr lang="en-US" sz="1800" b="0" i="1" dirty="0">
                <a:solidFill>
                  <a:srgbClr val="000000"/>
                </a:solidFill>
                <a:effectLst/>
                <a:latin typeface="CMTI12"/>
              </a:rPr>
              <a:t>et al.</a:t>
            </a:r>
            <a:r>
              <a:rPr lang="en-US" sz="1800" b="0" i="0" dirty="0">
                <a:solidFill>
                  <a:srgbClr val="000000"/>
                </a:solidFill>
                <a:effectLst/>
                <a:latin typeface="CMR12"/>
              </a:rPr>
              <a:t>, 2004). During a task, the heart activity changes with the mental demand of the task. The heart rate is expected to increase with the mental workload, while the heart rate variability is expected to decrease. These are consequences of two reactions in our system when in a mental demand situation (STANTON </a:t>
            </a:r>
            <a:r>
              <a:rPr lang="en-US" sz="1800" b="0" i="1" dirty="0">
                <a:solidFill>
                  <a:srgbClr val="000000"/>
                </a:solidFill>
                <a:effectLst/>
                <a:latin typeface="CMTI12"/>
              </a:rPr>
              <a:t>et al.</a:t>
            </a:r>
            <a:r>
              <a:rPr lang="en-US" sz="1800" b="0" i="0" dirty="0">
                <a:solidFill>
                  <a:srgbClr val="000000"/>
                </a:solidFill>
                <a:effectLst/>
                <a:latin typeface="CMR12"/>
              </a:rPr>
              <a:t>, 2004): a decrease in the parasympathetic nervous system activity and an increase in sympathetic nervous system activity. The ECG is a simple and non-invasive method used in many experiments to evaluate mental workload and other human factors’ (MOHANAVELU </a:t>
            </a:r>
            <a:r>
              <a:rPr lang="en-US" sz="1800" b="0" i="1" dirty="0">
                <a:solidFill>
                  <a:srgbClr val="000000"/>
                </a:solidFill>
                <a:effectLst/>
                <a:latin typeface="CMTI12"/>
              </a:rPr>
              <a:t>et al.</a:t>
            </a:r>
            <a:r>
              <a:rPr lang="en-US" sz="1800" b="0" i="0" dirty="0">
                <a:solidFill>
                  <a:srgbClr val="000000"/>
                </a:solidFill>
                <a:effectLst/>
                <a:latin typeface="CMR12"/>
              </a:rPr>
              <a:t>, 2020; MANSIKKA </a:t>
            </a:r>
            <a:r>
              <a:rPr lang="en-US" sz="1800" b="0" i="1" dirty="0">
                <a:solidFill>
                  <a:srgbClr val="000000"/>
                </a:solidFill>
                <a:effectLst/>
                <a:latin typeface="CMTI12"/>
              </a:rPr>
              <a:t>et al.</a:t>
            </a:r>
            <a:r>
              <a:rPr lang="en-US" sz="1800" b="0" i="0" dirty="0">
                <a:solidFill>
                  <a:srgbClr val="000000"/>
                </a:solidFill>
                <a:effectLst/>
                <a:latin typeface="CMR12"/>
              </a:rPr>
              <a:t>, 2016; ZHANG </a:t>
            </a:r>
            <a:r>
              <a:rPr lang="en-US" sz="1800" b="0" i="1" dirty="0">
                <a:solidFill>
                  <a:srgbClr val="000000"/>
                </a:solidFill>
                <a:effectLst/>
                <a:latin typeface="CMTI12"/>
              </a:rPr>
              <a:t>et al.</a:t>
            </a:r>
            <a:r>
              <a:rPr lang="en-US" sz="1800" b="0" i="0" dirty="0">
                <a:solidFill>
                  <a:srgbClr val="000000"/>
                </a:solidFill>
                <a:effectLst/>
                <a:latin typeface="CMR12"/>
              </a:rPr>
              <a:t>, 201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skin electrodermal activity is affected by the person’s sweating and the level of moisture in the environment. It can be used to reveal changes in our sympathetic system (NOURBAKHSH </a:t>
            </a:r>
            <a:r>
              <a:rPr lang="en-US" sz="1800" b="0" i="1" dirty="0">
                <a:solidFill>
                  <a:srgbClr val="000000"/>
                </a:solidFill>
                <a:effectLst/>
                <a:latin typeface="CMTI12"/>
              </a:rPr>
              <a:t>et al.</a:t>
            </a:r>
            <a:r>
              <a:rPr lang="en-US" sz="1800" b="0" i="0" dirty="0">
                <a:solidFill>
                  <a:srgbClr val="000000"/>
                </a:solidFill>
                <a:effectLst/>
                <a:latin typeface="CMR12"/>
              </a:rPr>
              <a:t>, 2012; SHI </a:t>
            </a:r>
            <a:r>
              <a:rPr lang="en-US" sz="1800" b="0" i="1" dirty="0">
                <a:solidFill>
                  <a:srgbClr val="000000"/>
                </a:solidFill>
                <a:effectLst/>
                <a:latin typeface="CMTI12"/>
              </a:rPr>
              <a:t>et al.</a:t>
            </a:r>
            <a:r>
              <a:rPr lang="en-US" sz="1800" b="0" i="0" dirty="0">
                <a:solidFill>
                  <a:srgbClr val="000000"/>
                </a:solidFill>
                <a:effectLst/>
                <a:latin typeface="CMR12"/>
              </a:rPr>
              <a:t>, 2007). It has been used in the literature as an assessment method for stress and arousal (NOURBAKHSH </a:t>
            </a:r>
            <a:r>
              <a:rPr lang="en-US" sz="1800" b="0" i="1" dirty="0">
                <a:solidFill>
                  <a:srgbClr val="000000"/>
                </a:solidFill>
                <a:effectLst/>
                <a:latin typeface="CMTI12"/>
              </a:rPr>
              <a:t>et al.</a:t>
            </a:r>
            <a:r>
              <a:rPr lang="en-US" sz="1800" b="0" i="0" dirty="0">
                <a:solidFill>
                  <a:srgbClr val="000000"/>
                </a:solidFill>
                <a:effectLst/>
                <a:latin typeface="CMR12"/>
              </a:rPr>
              <a:t>, 2012; STANTON </a:t>
            </a:r>
            <a:r>
              <a:rPr lang="en-US" sz="1800" b="0" i="1" dirty="0">
                <a:solidFill>
                  <a:srgbClr val="000000"/>
                </a:solidFill>
                <a:effectLst/>
                <a:latin typeface="CMTI12"/>
              </a:rPr>
              <a:t>et al.</a:t>
            </a:r>
            <a:r>
              <a:rPr lang="en-US" sz="1800" b="0" i="0" dirty="0">
                <a:solidFill>
                  <a:srgbClr val="000000"/>
                </a:solidFill>
                <a:effectLst/>
                <a:latin typeface="CMR12"/>
              </a:rPr>
              <a:t>, 2004; SHI </a:t>
            </a:r>
            <a:r>
              <a:rPr lang="en-US" sz="1800" b="0" i="1" dirty="0">
                <a:solidFill>
                  <a:srgbClr val="000000"/>
                </a:solidFill>
                <a:effectLst/>
                <a:latin typeface="CMTI12"/>
              </a:rPr>
              <a:t>et al.</a:t>
            </a:r>
            <a:r>
              <a:rPr lang="en-US" sz="1800" b="0" i="0" dirty="0">
                <a:solidFill>
                  <a:srgbClr val="000000"/>
                </a:solidFill>
                <a:effectLst/>
                <a:latin typeface="CMR12"/>
              </a:rPr>
              <a:t>, 2007), the usability of human-computer systems (SHI </a:t>
            </a:r>
            <a:r>
              <a:rPr lang="en-US" sz="1800" b="0" i="1" dirty="0">
                <a:solidFill>
                  <a:srgbClr val="000000"/>
                </a:solidFill>
                <a:effectLst/>
                <a:latin typeface="CMTI12"/>
              </a:rPr>
              <a:t>et al.</a:t>
            </a:r>
            <a:r>
              <a:rPr lang="en-US" sz="1800" b="0" i="0" dirty="0">
                <a:solidFill>
                  <a:srgbClr val="000000"/>
                </a:solidFill>
                <a:effectLst/>
                <a:latin typeface="CMR12"/>
              </a:rPr>
              <a:t>, 2007) and also mental workload (ZHANG </a:t>
            </a:r>
            <a:r>
              <a:rPr lang="en-US" sz="1800" b="0" i="1" dirty="0">
                <a:solidFill>
                  <a:srgbClr val="000000"/>
                </a:solidFill>
                <a:effectLst/>
                <a:latin typeface="CMTI12"/>
              </a:rPr>
              <a:t>et al.</a:t>
            </a:r>
            <a:r>
              <a:rPr lang="en-US" sz="1800" b="0" i="0" dirty="0">
                <a:solidFill>
                  <a:srgbClr val="000000"/>
                </a:solidFill>
                <a:effectLst/>
                <a:latin typeface="CMR12"/>
              </a:rPr>
              <a:t>, 2014; BORGHINI </a:t>
            </a:r>
            <a:r>
              <a:rPr lang="en-US" sz="1800" b="0" i="1" dirty="0">
                <a:solidFill>
                  <a:srgbClr val="000000"/>
                </a:solidFill>
                <a:effectLst/>
                <a:latin typeface="CMTI12"/>
              </a:rPr>
              <a:t>et al.</a:t>
            </a:r>
            <a:r>
              <a:rPr lang="en-US" sz="1800" b="0" i="0" dirty="0">
                <a:solidFill>
                  <a:srgbClr val="000000"/>
                </a:solidFill>
                <a:effectLst/>
                <a:latin typeface="CMR12"/>
              </a:rPr>
              <a:t>, 2014).</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subjective questionnaire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The use of subjective questionnaires to assess mental workload has been extensively discussed in the literature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a:t>
            </a:r>
            <a:br>
              <a:rPr lang="en-US" sz="1800" b="0" i="0" dirty="0">
                <a:solidFill>
                  <a:srgbClr val="000000"/>
                </a:solidFill>
                <a:effectLst/>
                <a:latin typeface="CMR12"/>
              </a:rPr>
            </a:br>
            <a:r>
              <a:rPr lang="en-US" sz="1800" b="0" i="0" dirty="0">
                <a:solidFill>
                  <a:srgbClr val="000000"/>
                </a:solidFill>
                <a:effectLst/>
                <a:latin typeface="CMR12"/>
              </a:rPr>
              <a:t>They are sensitive to perceived difficulty, automation, concurrent activities and demand for multiple resources. The questionnaires can 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discussed if one should only use subjective measures to measure MWL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 They are sensitive to perceived difficulty, automation, concurrent activities and demand for multiple resources. These tests can</a:t>
            </a:r>
            <a:br>
              <a:rPr lang="en-US" sz="1800" b="0" i="0" dirty="0">
                <a:solidFill>
                  <a:srgbClr val="000000"/>
                </a:solidFill>
                <a:effectLst/>
                <a:latin typeface="CMR12"/>
              </a:rPr>
            </a:br>
            <a:r>
              <a:rPr lang="en-US" sz="1800" b="0" i="0" dirty="0">
                <a:solidFill>
                  <a:srgbClr val="000000"/>
                </a:solidFill>
                <a:effectLst/>
                <a:latin typeface="CMR12"/>
              </a:rPr>
              <a:t>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STANTON </a:t>
            </a:r>
            <a:r>
              <a:rPr lang="en-US" sz="1800" b="0" i="1" dirty="0">
                <a:solidFill>
                  <a:srgbClr val="000000"/>
                </a:solidFill>
                <a:effectLst/>
                <a:latin typeface="CMTI12"/>
              </a:rPr>
              <a:t>et al.</a:t>
            </a:r>
            <a:r>
              <a:rPr lang="en-US" sz="1800" b="0" i="0" dirty="0">
                <a:solidFill>
                  <a:srgbClr val="000000"/>
                </a:solidFill>
                <a:effectLst/>
                <a:latin typeface="CMR12"/>
              </a:rPr>
              <a:t>, 2004),or multidimensional. Examples of multidimensional questionnaires are the Subjective Workload Assessment Technique (SWAT) and the NASA Task Load Index (NASA-TLX). SWAT decomposes the mental in three dimensions: time load, mental effort load, and psychological stress. NASA-TLX, a questionnaire created by Hart e </a:t>
            </a:r>
            <a:r>
              <a:rPr lang="en-US" sz="1800" b="0" i="0" dirty="0" err="1">
                <a:solidFill>
                  <a:srgbClr val="000000"/>
                </a:solidFill>
                <a:effectLst/>
                <a:latin typeface="CMR12"/>
              </a:rPr>
              <a:t>Staveland</a:t>
            </a:r>
            <a:r>
              <a:rPr lang="en-US" sz="1800" b="0" i="0" dirty="0">
                <a:solidFill>
                  <a:srgbClr val="000000"/>
                </a:solidFill>
                <a:effectLst/>
                <a:latin typeface="CMR12"/>
              </a:rPr>
              <a:t> (1988), uses six dimensions, as described in Table 2.1. These questionnaires were proposed to evaluate only one task/activity. If the user has performed two tasks (a primary and secondary task), he/she should be oriented to answer about the primary task, not a combination of both (SANDERS; MCCORMICK, 1998).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inally, it is essential to highlight that, to have a comprehensive evaluation of the mental workload, not to choose only one method, but to combine methods from the three classes (task performance, physiological measurements and subjective questionnaires). Mental workload is multidimensional and can reflect partially or differently in each method (SANDERS; MCCORMICK, 1998).</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877444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Extended reality is a broad term that refers to all different ways of combining virtual and real entities in a human-machine interface system. It is usually decomposed into four classes (augmented reality, augmented virtuality, mixed reality, and virtual reality) that differ on the level of reality and virtuality involved in the interface system.</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Milgram e </a:t>
            </a:r>
            <a:r>
              <a:rPr lang="en-US" sz="1800" b="0" i="0" dirty="0" err="1">
                <a:solidFill>
                  <a:srgbClr val="000000"/>
                </a:solidFill>
                <a:effectLst/>
                <a:latin typeface="CMR12"/>
              </a:rPr>
              <a:t>Kishino</a:t>
            </a:r>
            <a:r>
              <a:rPr lang="en-US" sz="1800" b="0" i="0" dirty="0">
                <a:solidFill>
                  <a:srgbClr val="000000"/>
                </a:solidFill>
                <a:effectLst/>
                <a:latin typeface="CMR12"/>
              </a:rPr>
              <a:t> (1994) organized these classes and created the concept of the “virtuality continuum”, as illustrated in Figure, as illustrated in Figure 2.4. On the left, the real environment represents the cases where the stimuli are not produced by a computer or any other digital system. Along the path to the right, the environment starts to incorporate digital elements until it reaches the far right, where all the elements in the environment are virtual and have a digital origin (NIJHOLT; TRAUM, 2005; DOOLANI </a:t>
            </a:r>
            <a:r>
              <a:rPr lang="en-US" sz="1800" b="0" i="1" dirty="0">
                <a:solidFill>
                  <a:srgbClr val="000000"/>
                </a:solidFill>
                <a:effectLst/>
                <a:latin typeface="CMTI12"/>
              </a:rPr>
              <a:t>et al.</a:t>
            </a:r>
            <a:r>
              <a:rPr lang="en-US" sz="1800" b="0" i="0" dirty="0">
                <a:solidFill>
                  <a:srgbClr val="000000"/>
                </a:solidFill>
                <a:effectLst/>
                <a:latin typeface="CMR12"/>
              </a:rPr>
              <a:t>, 2020).</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97904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extreme left means full reality, where the stimuli is not produced by any computer or any other digital system. Along the path to the right, the environment starts to have some digital elements until it reaches the far right, where all the environmental elements have a digital origin. The first step from the ”Real Environment” to ”Virtual Reality” is the augmented reality.</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82677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In the augmented reality system, the user sees some digital elements that are laid over the real environment. without making the user lose his sense of presence in the real world. These elements can be text, images, video, etc. Augmented reality can be used to assist workers in manufacturing and assembly tasks, as well as training (DOOLANI </a:t>
            </a:r>
            <a:r>
              <a:rPr lang="en-US" sz="1800" b="0" i="1" dirty="0">
                <a:solidFill>
                  <a:srgbClr val="000000"/>
                </a:solidFill>
                <a:effectLst/>
                <a:latin typeface="CMTI12"/>
              </a:rPr>
              <a:t>et al.</a:t>
            </a:r>
            <a:r>
              <a:rPr lang="en-US" sz="1800" b="0" i="0" dirty="0">
                <a:solidFill>
                  <a:srgbClr val="000000"/>
                </a:solidFill>
                <a:effectLst/>
                <a:latin typeface="CMR12"/>
              </a:rPr>
              <a:t>, 2020; FARRELL, 2018; MA; CHOI, 2007).</a:t>
            </a:r>
            <a:r>
              <a:rPr lang="en-US" sz="2800" dirty="0"/>
              <a:t> </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461736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While the augmented reality brings digital elements to the real environment, the augmented virtuality creates an environment that could only exist digitally, such as a fantasy world from games or movies. This scenario is the background of some other activity that is being done by the user in the real environment. An example is to train a pilot in a virtual environment but with an accurate mock-up of the cockpit, which provides physical buttons and inceptors for the pilot to touch and hold (FARSHID </a:t>
            </a:r>
            <a:r>
              <a:rPr lang="en-US" sz="1800" b="0" i="1" dirty="0">
                <a:solidFill>
                  <a:srgbClr val="000000"/>
                </a:solidFill>
                <a:effectLst/>
                <a:latin typeface="CMTI12"/>
              </a:rPr>
              <a:t>et al.</a:t>
            </a:r>
            <a:r>
              <a:rPr lang="en-US" sz="1800" b="0" i="0" dirty="0">
                <a:solidFill>
                  <a:srgbClr val="000000"/>
                </a:solidFill>
                <a:effectLst/>
                <a:latin typeface="CMR12"/>
              </a:rPr>
              <a:t>, 2018). Another example is to play sports, such as tennis, golf or baseball, in a complete digital arena but using the actual equipment with a tracker.</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547386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mixed reality stays in between the real and virtual environments. Unlike augmented reality and augmented virtuality, in a mixed reality system the user can manipulate digital elements as if they were inside the real world (DOOLANI </a:t>
            </a:r>
            <a:r>
              <a:rPr lang="en-US" sz="1800" b="0" i="1" dirty="0">
                <a:solidFill>
                  <a:srgbClr val="000000"/>
                </a:solidFill>
                <a:effectLst/>
                <a:latin typeface="CMTI12"/>
              </a:rPr>
              <a:t>et al.</a:t>
            </a:r>
            <a:r>
              <a:rPr lang="en-US" sz="1800" b="0" i="0" dirty="0">
                <a:solidFill>
                  <a:srgbClr val="000000"/>
                </a:solidFill>
                <a:effectLst/>
                <a:latin typeface="CMR12"/>
              </a:rPr>
              <a:t>, 2020). One example is when a client from a furniture store uses mixed reality not only to see how the furniture fits inside his room, but he can also move it and change its color, size and shape before buying or even going to the shop.</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670065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On the far right of the virtuality continuum, the virtual reality is when the user is the only non-digital element, everything else is digital, immersing the user in a virtual</a:t>
            </a:r>
            <a:br>
              <a:rPr lang="en-US" sz="1800" b="0" i="0" dirty="0">
                <a:solidFill>
                  <a:srgbClr val="000000"/>
                </a:solidFill>
                <a:effectLst/>
                <a:latin typeface="CMR12"/>
              </a:rPr>
            </a:br>
            <a:r>
              <a:rPr lang="en-US" sz="1800" b="0" i="0" dirty="0">
                <a:solidFill>
                  <a:srgbClr val="000000"/>
                </a:solidFill>
                <a:effectLst/>
                <a:latin typeface="CMR12"/>
              </a:rPr>
              <a:t>environment, but, of course, inside the physical limits of the real environment (MA; CHOI, 2007). If the feeling of presence inside that environment is well tailored, the user</a:t>
            </a:r>
            <a:br>
              <a:rPr lang="en-US" sz="1800" b="0" i="0" dirty="0">
                <a:solidFill>
                  <a:srgbClr val="000000"/>
                </a:solidFill>
                <a:effectLst/>
                <a:latin typeface="CMR12"/>
              </a:rPr>
            </a:br>
            <a:r>
              <a:rPr lang="en-US" sz="1800" b="0" i="0" dirty="0">
                <a:solidFill>
                  <a:srgbClr val="000000"/>
                </a:solidFill>
                <a:effectLst/>
                <a:latin typeface="CMR12"/>
              </a:rPr>
              <a:t>can momentarily forget about the real environment and act and react accordingly to the virtual environment (FARRELL, 2018).</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277222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736096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960362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020490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Select a scenario for testing assistive devices and develop it in a virtual environment;</a:t>
            </a:r>
            <a:br>
              <a:rPr lang="en-US" sz="1800" b="0" i="0" dirty="0">
                <a:solidFill>
                  <a:srgbClr val="000000"/>
                </a:solidFill>
                <a:effectLst/>
                <a:latin typeface="CMR12"/>
              </a:rPr>
            </a:br>
            <a:r>
              <a:rPr lang="en-US" sz="1800" b="0" i="0" dirty="0">
                <a:solidFill>
                  <a:srgbClr val="000000"/>
                </a:solidFill>
                <a:effectLst/>
                <a:latin typeface="SFRM1200"/>
              </a:rPr>
              <a:t>• </a:t>
            </a:r>
            <a:r>
              <a:rPr lang="en-US" sz="1800" b="0" i="0" dirty="0">
                <a:solidFill>
                  <a:srgbClr val="000000"/>
                </a:solidFill>
                <a:effectLst/>
                <a:latin typeface="CMR12"/>
              </a:rPr>
              <a:t>Develop three concepts of assistive devices that use different senses to provide input to the BVI;</a:t>
            </a:r>
            <a:br>
              <a:rPr lang="en-US" dirty="0"/>
            </a:br>
            <a:r>
              <a:rPr lang="en-US" sz="1800" b="0" i="0" dirty="0">
                <a:solidFill>
                  <a:srgbClr val="000000"/>
                </a:solidFill>
                <a:effectLst/>
                <a:latin typeface="SFRM1200"/>
              </a:rPr>
              <a:t>• </a:t>
            </a:r>
            <a:r>
              <a:rPr lang="en-US" sz="1800" b="0" i="0" dirty="0">
                <a:solidFill>
                  <a:srgbClr val="000000"/>
                </a:solidFill>
                <a:effectLst/>
                <a:latin typeface="CMR12"/>
              </a:rPr>
              <a:t>Propose a set of methods for BVI to evaluate assistive devices from human factors perspective;</a:t>
            </a:r>
            <a:br>
              <a:rPr lang="en-US" sz="1800" b="0" i="0" dirty="0">
                <a:solidFill>
                  <a:srgbClr val="000000"/>
                </a:solidFill>
                <a:effectLst/>
                <a:latin typeface="CMR12"/>
              </a:rPr>
            </a:br>
            <a:r>
              <a:rPr lang="en-US" sz="1800" b="0" i="0" dirty="0">
                <a:solidFill>
                  <a:srgbClr val="000000"/>
                </a:solidFill>
                <a:effectLst/>
                <a:latin typeface="SFRM1200"/>
              </a:rPr>
              <a:t>• </a:t>
            </a:r>
            <a:r>
              <a:rPr lang="en-US" sz="1800" b="0" i="0" dirty="0">
                <a:solidFill>
                  <a:srgbClr val="000000"/>
                </a:solidFill>
                <a:effectLst/>
                <a:latin typeface="CMR12"/>
              </a:rPr>
              <a:t>Design and execute an experiment to evaluate the concepts of assistive devices in the virtual environment using the proposed method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340092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first phase is the context definition. It consists of defining the main features of the environment in which the assistive device will be used, based on interviews from</a:t>
            </a:r>
            <a:br>
              <a:rPr lang="en-US" sz="1800" b="0" i="0" dirty="0">
                <a:solidFill>
                  <a:srgbClr val="000000"/>
                </a:solidFill>
                <a:effectLst/>
                <a:latin typeface="CMR12"/>
              </a:rPr>
            </a:br>
            <a:r>
              <a:rPr lang="en-US" sz="1800" b="0" i="0" dirty="0">
                <a:solidFill>
                  <a:srgbClr val="000000"/>
                </a:solidFill>
                <a:effectLst/>
                <a:latin typeface="CMR12"/>
              </a:rPr>
              <a:t>specialists. It also includes a step for understanding the limitations of the current assistive devices and defining the main features of assistive devices to be designed. This last step</a:t>
            </a:r>
            <a:br>
              <a:rPr lang="en-US" sz="1800" b="0" i="0" dirty="0">
                <a:solidFill>
                  <a:srgbClr val="000000"/>
                </a:solidFill>
                <a:effectLst/>
                <a:latin typeface="CMR12"/>
              </a:rPr>
            </a:br>
            <a:r>
              <a:rPr lang="en-US" sz="1800" b="0" i="0" dirty="0">
                <a:solidFill>
                  <a:srgbClr val="000000"/>
                </a:solidFill>
                <a:effectLst/>
                <a:latin typeface="CMR12"/>
              </a:rPr>
              <a:t>is based on interviews with BVI user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second phase is devoted to specification and is composed of three steps. It includes the specification of a virtual environment that represents the real environment where the</a:t>
            </a:r>
            <a:br>
              <a:rPr lang="en-US" sz="1800" b="0" i="0" dirty="0">
                <a:solidFill>
                  <a:srgbClr val="000000"/>
                </a:solidFill>
                <a:effectLst/>
                <a:latin typeface="CMR12"/>
              </a:rPr>
            </a:br>
            <a:r>
              <a:rPr lang="en-US" sz="1800" b="0" i="0" dirty="0">
                <a:solidFill>
                  <a:srgbClr val="000000"/>
                </a:solidFill>
                <a:effectLst/>
                <a:latin typeface="CMR12"/>
              </a:rPr>
              <a:t>device will be used. In parallel, the relevant human factors for the device evaluation are defined. Finally, the assistive devices are also specified.</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third phase is dedicated to developing the virtual environment, the evaluation tools and methods, and the first proof of concept of the assistive devices, which should be integrated into the virtual environment for testing.</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fourth phase provides a preliminary assessment of the devices through its unstructured experimentation by BVI consults. This preliminary assessment provides feedback for improving the device concept. The cycle of “try-out and improve device concept” can be repeated until the device concept is considered mature to be tested through a systematic set of controlled experiment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fifth phase consists of executing a campaign of controlled experiments, following the best practices of the DoE (Design of Experiments) discipline, and </a:t>
            </a:r>
            <a:r>
              <a:rPr lang="en-US" sz="1800" b="0" i="0" dirty="0" err="1">
                <a:solidFill>
                  <a:srgbClr val="000000"/>
                </a:solidFill>
                <a:effectLst/>
                <a:latin typeface="CMR12"/>
              </a:rPr>
              <a:t>analysing</a:t>
            </a:r>
            <a:r>
              <a:rPr lang="en-US" sz="1800" b="0" i="0" dirty="0">
                <a:solidFill>
                  <a:srgbClr val="000000"/>
                </a:solidFill>
                <a:effectLst/>
                <a:latin typeface="CMR12"/>
              </a:rPr>
              <a:t> the results. Concluded this phase, the results should provide information for the design team to decide between proceeding to the detailed design of the assistive devices or performing a new evaluation cycle.</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the last case, the experiment should provide feedback on improving the devices’ specification, refine the assessment methods, expand the virtual environment to include new tasks and/or situations, or even abandon a device concept. Each evaluation cycle should increase the maturity of the assistive devices under development. In order to illustrate it, the proposed method is applied to the evaluation of assistive</a:t>
            </a:r>
            <a:br>
              <a:rPr lang="en-US" sz="1800" b="0" i="0" dirty="0">
                <a:solidFill>
                  <a:srgbClr val="000000"/>
                </a:solidFill>
                <a:effectLst/>
                <a:latin typeface="CMR12"/>
              </a:rPr>
            </a:br>
            <a:r>
              <a:rPr lang="en-US" sz="1800" b="0" i="0" dirty="0">
                <a:solidFill>
                  <a:srgbClr val="000000"/>
                </a:solidFill>
                <a:effectLst/>
                <a:latin typeface="CMR12"/>
              </a:rPr>
              <a:t>devices concepts that should be able to guide BVI users in a hospital or a medical clinic during the covid-19 pandemic.</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269685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As previously stated, the context in which the assistive devices are evaluated is the BVI navigation through a hospital or medical clinic in a covid-19 pandemic situation.</a:t>
            </a:r>
          </a:p>
          <a:p>
            <a:pPr marL="0" lvl="0" indent="0" algn="l" rtl="0">
              <a:spcBef>
                <a:spcPts val="0"/>
              </a:spcBef>
              <a:spcAft>
                <a:spcPts val="0"/>
              </a:spcAft>
              <a:buNone/>
            </a:pPr>
            <a:br>
              <a:rPr lang="en-US" sz="1800" b="0" i="0" dirty="0">
                <a:solidFill>
                  <a:srgbClr val="000000"/>
                </a:solidFill>
                <a:effectLst/>
                <a:latin typeface="CMR12"/>
              </a:rPr>
            </a:br>
            <a:r>
              <a:rPr lang="en-US" sz="1800" b="1" i="1" dirty="0">
                <a:solidFill>
                  <a:srgbClr val="000000"/>
                </a:solidFill>
                <a:effectLst/>
                <a:latin typeface="CMBXTI10"/>
              </a:rPr>
              <a:t>Step 1.1 Interview with environment specialists</a:t>
            </a:r>
            <a:r>
              <a:rPr lang="en-US" sz="2800" dirty="0"/>
              <a:t> </a:t>
            </a:r>
            <a:br>
              <a:rPr lang="en-US" sz="2800" dirty="0"/>
            </a:br>
            <a:endParaRPr lang="en-US" sz="2800" dirty="0"/>
          </a:p>
          <a:p>
            <a:pPr marL="0" lvl="0" indent="0" algn="l" rtl="0">
              <a:spcBef>
                <a:spcPts val="0"/>
              </a:spcBef>
              <a:spcAft>
                <a:spcPts val="0"/>
              </a:spcAft>
              <a:buNone/>
            </a:pPr>
            <a:r>
              <a:rPr lang="en-US" sz="1800" b="0" i="0" dirty="0">
                <a:solidFill>
                  <a:srgbClr val="000000"/>
                </a:solidFill>
                <a:effectLst/>
                <a:latin typeface="CMR12"/>
              </a:rPr>
              <a:t>• In order to gather information about this context, the first step of Phase 1 consists of interviewing specialists from hospitals to understand the usual hospital procedures and</a:t>
            </a:r>
            <a:br>
              <a:rPr lang="en-US" sz="1800" b="0" i="0" dirty="0">
                <a:solidFill>
                  <a:srgbClr val="000000"/>
                </a:solidFill>
                <a:effectLst/>
                <a:latin typeface="CMR12"/>
              </a:rPr>
            </a:br>
            <a:r>
              <a:rPr lang="en-US" sz="1800" b="0" i="0" dirty="0">
                <a:solidFill>
                  <a:srgbClr val="000000"/>
                </a:solidFill>
                <a:effectLst/>
                <a:latin typeface="CMR12"/>
              </a:rPr>
              <a:t>the standard features of this environment. For this work, employees from two hospitals of Sao Jose dos Campos were interviewed (</a:t>
            </a:r>
            <a:r>
              <a:rPr lang="en-US" sz="1800" b="0" i="0" dirty="0" err="1">
                <a:solidFill>
                  <a:srgbClr val="000000"/>
                </a:solidFill>
                <a:effectLst/>
                <a:latin typeface="CMR12"/>
              </a:rPr>
              <a:t>Vivalle</a:t>
            </a:r>
            <a:r>
              <a:rPr lang="en-US" sz="1800" b="0" i="0" dirty="0">
                <a:solidFill>
                  <a:srgbClr val="000000"/>
                </a:solidFill>
                <a:effectLst/>
                <a:latin typeface="CMR12"/>
              </a:rPr>
              <a:t> Hospital and the Municipal Hospital). They were questioned about the layout of rooms and spaces and the processes that a new patient follows through the hospital, from the check-in until he/she gets in the doctor’s office. According to the interviews, the procedures adopted by patients in both hospitals are similar and are usually composed of the following steps:</a:t>
            </a:r>
            <a:br>
              <a:rPr lang="en-US" sz="1800" b="0" i="0" dirty="0">
                <a:solidFill>
                  <a:srgbClr val="000000"/>
                </a:solidFill>
                <a:effectLst/>
                <a:latin typeface="CMR12"/>
              </a:rPr>
            </a:br>
            <a:r>
              <a:rPr lang="en-US" sz="1800" b="0" i="0" dirty="0">
                <a:solidFill>
                  <a:srgbClr val="000000"/>
                </a:solidFill>
                <a:effectLst/>
                <a:latin typeface="CMR12"/>
              </a:rPr>
              <a:t>1. Enter the hospital;</a:t>
            </a:r>
            <a:br>
              <a:rPr lang="en-US" sz="1800" b="0" i="0" dirty="0">
                <a:solidFill>
                  <a:srgbClr val="000000"/>
                </a:solidFill>
                <a:effectLst/>
                <a:latin typeface="CMR12"/>
              </a:rPr>
            </a:br>
            <a:r>
              <a:rPr lang="en-US" sz="1800" b="0" i="0" dirty="0">
                <a:solidFill>
                  <a:srgbClr val="000000"/>
                </a:solidFill>
                <a:effectLst/>
                <a:latin typeface="CMR12"/>
              </a:rPr>
              <a:t>2. Use the sanitizer to clean their hands;</a:t>
            </a:r>
            <a:br>
              <a:rPr lang="en-US" sz="1800" b="0" i="0" dirty="0">
                <a:solidFill>
                  <a:srgbClr val="000000"/>
                </a:solidFill>
                <a:effectLst/>
                <a:latin typeface="CMR12"/>
              </a:rPr>
            </a:br>
            <a:r>
              <a:rPr lang="en-US" sz="1800" b="0" i="0" dirty="0">
                <a:solidFill>
                  <a:srgbClr val="000000"/>
                </a:solidFill>
                <a:effectLst/>
                <a:latin typeface="CMR12"/>
              </a:rPr>
              <a:t>3. Take a queue number and wait for the call of the receptionist;</a:t>
            </a:r>
            <a:br>
              <a:rPr lang="en-US" sz="1800" b="0" i="0" dirty="0">
                <a:solidFill>
                  <a:srgbClr val="000000"/>
                </a:solidFill>
                <a:effectLst/>
                <a:latin typeface="CMR12"/>
              </a:rPr>
            </a:br>
            <a:r>
              <a:rPr lang="en-US" sz="1800" b="0" i="0" dirty="0">
                <a:solidFill>
                  <a:srgbClr val="000000"/>
                </a:solidFill>
                <a:effectLst/>
                <a:latin typeface="CMR12"/>
              </a:rPr>
              <a:t>4. Go to the receptionist and check in;</a:t>
            </a:r>
            <a:br>
              <a:rPr lang="en-US" sz="1800" b="0" i="0" dirty="0">
                <a:solidFill>
                  <a:srgbClr val="000000"/>
                </a:solidFill>
                <a:effectLst/>
                <a:latin typeface="CMR12"/>
              </a:rPr>
            </a:br>
            <a:r>
              <a:rPr lang="en-US" sz="1800" b="0" i="0" dirty="0">
                <a:solidFill>
                  <a:srgbClr val="000000"/>
                </a:solidFill>
                <a:effectLst/>
                <a:latin typeface="CMR12"/>
              </a:rPr>
              <a:t>5. Sit in the waiting area and wait until the patient’s name is called;</a:t>
            </a:r>
            <a:br>
              <a:rPr lang="en-US" sz="1800" b="0" i="0" dirty="0">
                <a:solidFill>
                  <a:srgbClr val="000000"/>
                </a:solidFill>
                <a:effectLst/>
                <a:latin typeface="CMR12"/>
              </a:rPr>
            </a:br>
            <a:r>
              <a:rPr lang="en-US" sz="1800" b="0" i="0" dirty="0">
                <a:solidFill>
                  <a:srgbClr val="000000"/>
                </a:solidFill>
                <a:effectLst/>
                <a:latin typeface="CMR12"/>
              </a:rPr>
              <a:t>6. Leave the waiting area toward the doctor’s office.</a:t>
            </a:r>
            <a:r>
              <a:rPr lang="en-US" sz="2800" dirty="0"/>
              <a:t> </a:t>
            </a:r>
          </a:p>
          <a:p>
            <a:pPr marL="0" lvl="0" indent="0" algn="l" rtl="0">
              <a:spcBef>
                <a:spcPts val="0"/>
              </a:spcBef>
              <a:spcAft>
                <a:spcPts val="0"/>
              </a:spcAft>
              <a:buNone/>
            </a:pPr>
            <a:endParaRPr lang="en-US" sz="2800" dirty="0"/>
          </a:p>
          <a:p>
            <a:pPr marL="0" lvl="0" indent="0" algn="l" rtl="0">
              <a:spcBef>
                <a:spcPts val="0"/>
              </a:spcBef>
              <a:spcAft>
                <a:spcPts val="0"/>
              </a:spcAft>
              <a:buNone/>
            </a:pPr>
            <a:r>
              <a:rPr lang="en-US" sz="1800" b="1" i="1" dirty="0">
                <a:solidFill>
                  <a:srgbClr val="000000"/>
                </a:solidFill>
                <a:effectLst/>
                <a:latin typeface="CMBXTI10"/>
              </a:rPr>
              <a:t>Step 1.2 Interview with BVI consultants</a:t>
            </a:r>
            <a:br>
              <a:rPr lang="en-US" sz="1800" b="1" i="1" dirty="0">
                <a:solidFill>
                  <a:srgbClr val="000000"/>
                </a:solidFill>
                <a:effectLst/>
                <a:latin typeface="CMBXTI10"/>
              </a:rPr>
            </a:br>
            <a:r>
              <a:rPr lang="en-US" sz="1800" b="0" i="0" dirty="0">
                <a:solidFill>
                  <a:srgbClr val="000000"/>
                </a:solidFill>
                <a:effectLst/>
                <a:latin typeface="CMR12"/>
              </a:rPr>
              <a:t>One of the motivations of this work is that BVI users are not completely satisfied with the current guidance products. We hypothesize that BVI users are not usually consulted</a:t>
            </a:r>
            <a:br>
              <a:rPr lang="en-US" sz="1800" b="0" i="0" dirty="0">
                <a:solidFill>
                  <a:srgbClr val="000000"/>
                </a:solidFill>
                <a:effectLst/>
                <a:latin typeface="CMR12"/>
              </a:rPr>
            </a:br>
            <a:r>
              <a:rPr lang="en-US" sz="1800" b="0" i="0" dirty="0">
                <a:solidFill>
                  <a:srgbClr val="000000"/>
                </a:solidFill>
                <a:effectLst/>
                <a:latin typeface="CMR12"/>
              </a:rPr>
              <a:t>from the early stages of the products’ development. In this work, two BVI acted as consultants for the proposal of guiding methods and the design of a virtual environment that would be familiar to their reality. They had different visual impairments. One of them became blind at the age of 13 years old, while the other was diagnosed with Usher’s disease. The interviews with BVI consultants were critical to understanding how they perceive a medical clinic as they walk in and how they interact with the environment. Among the inputs provided by BVI interviews’ are the importance of including in the virtual environment background noise typical of a reception, such as a keyboard typing and a telephone ringing, as well as a few physical expected objects to interact with (chairs and desk)</a:t>
            </a:r>
            <a:r>
              <a:rPr lang="en-US" sz="4000" dirty="0"/>
              <a:t> </a:t>
            </a:r>
            <a:br>
              <a:rPr lang="en-US" sz="4000" dirty="0"/>
            </a:b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8715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071779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604133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720570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553593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 </a:t>
            </a:r>
            <a:r>
              <a:rPr lang="en-US" sz="1800" b="0" i="0" dirty="0">
                <a:solidFill>
                  <a:srgbClr val="000000"/>
                </a:solidFill>
                <a:effectLst/>
                <a:latin typeface="CMR12"/>
              </a:rPr>
              <a:t>This work proposes using virtual reality to create an environment where concepts of assistive devices could be evaluated at the early stages of development by blind and visual impaired (BVI) people.</a:t>
            </a:r>
            <a:br>
              <a:rPr lang="en-US" sz="1800" b="0" i="0" dirty="0">
                <a:solidFill>
                  <a:srgbClr val="000000"/>
                </a:solidFill>
                <a:effectLst/>
                <a:latin typeface="CMR12"/>
              </a:rPr>
            </a:br>
            <a:r>
              <a:rPr lang="en-US" sz="1800" b="0" i="0" dirty="0">
                <a:solidFill>
                  <a:srgbClr val="000000"/>
                </a:solidFill>
                <a:effectLst/>
                <a:latin typeface="CMR12"/>
              </a:rPr>
              <a:t>In order to systematize this proposal, this work presents a method composed of five phases that guide the development of the virtual environment in parallel with the design of the assistive devices and the proposal of assessment method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illustrate the proposed method and investigate two research questions related to this work, it is described an application of the method for the evaluation of four different solutions of assistive devices in the environment of a hospital reception. For this example, it proposes as an assessment method the use of subjective questionnaires and physiological senso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evaluate situation awareness, this work proposes an adapted version of the SAGAT questionnaire, which was initially introduced for evaluating the situation awareness of air traffic controllers. Based on the results from the hospital reception example, the two research questions are discussed</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469162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 </a:t>
            </a:r>
            <a:r>
              <a:rPr lang="en-US" sz="1800" b="0" i="0" dirty="0">
                <a:solidFill>
                  <a:srgbClr val="000000"/>
                </a:solidFill>
                <a:effectLst/>
                <a:latin typeface="CMR12"/>
              </a:rPr>
              <a:t>The example presented in this work showed that it is possible to evaluate both situation awareness and workload using experiments performed in a virtual environment. The tests performed in the virtual environment made possible the comparison of the assistive devices both qualitatively and quantitatively.</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However, some limitations were identified during the development of this work, regarding both the virtual environment and the assessment techniques. One of the most recurrent observations was the unsatisfactory quality of the sound system. According to blind participants, the headphone of the VIVE HMD does not provide sounds with a quality good enough for them to locate the source of a sound. A</a:t>
            </a:r>
            <a:br>
              <a:rPr lang="en-US" sz="1800" b="0" i="0" dirty="0">
                <a:solidFill>
                  <a:srgbClr val="000000"/>
                </a:solidFill>
                <a:effectLst/>
                <a:latin typeface="CMR12"/>
              </a:rPr>
            </a:br>
            <a:r>
              <a:rPr lang="en-US" sz="1800" b="0" i="0" dirty="0">
                <a:solidFill>
                  <a:srgbClr val="000000"/>
                </a:solidFill>
                <a:effectLst/>
                <a:latin typeface="CMR12"/>
              </a:rPr>
              <a:t>regular comment was, “I feel like the sound origin is inside my head”. This limitation may be solved by placing a sound source in the real environment and use the HMD only for localizing the participant in the virtual environment.</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Another limitation is the actual position of the furniture. After a first round, the furniture was not precisely aligned with its virtual model. A future solution for this problem would be to use a locator on each piece of furniture.</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Among the main limitations identified during this work, it is worth mentioning the failure to detect collisions in the virtual environment, which could be solved by integrating sensors that monitor the position of each arm and leg of the user.</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Regarding the assessment methods for evaluating human factors, the physiological sensors did not show any systematic difference among the methods under analysis. This result may be due the noise in the sensors’ data, compromising its quality. Another problem is that the low number of participants may compromise the statistical analysis, due to the large variability among user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3739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725969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a:solidFill>
                  <a:srgbClr val="000000"/>
                </a:solidFill>
                <a:effectLst/>
                <a:latin typeface="CMR12"/>
              </a:rPr>
              <a:t>• Comparing </a:t>
            </a:r>
            <a:r>
              <a:rPr lang="en-US" sz="1800" b="0" i="0" dirty="0">
                <a:solidFill>
                  <a:srgbClr val="000000"/>
                </a:solidFill>
                <a:effectLst/>
                <a:latin typeface="CMR12"/>
              </a:rPr>
              <a:t>the results of the experiments performed with blind and sighted participants, some differences were observed. Among the most important, is the relative evaluation of audio and haptic devices. Due to their enhanced sensitivity to sounds, BVI users tend to evaluate audio solutions better than non-BVI. Also, the effect of repeating a task in the same environment, i.e., performing different rounds of the same experiment, may differ between sighted and blind use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Generally, the results reinforce the importance of having BVI users involved in the design of assistive devices from the early stages of the specification of requirement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438619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a:solidFill>
                  <a:srgbClr val="000000"/>
                </a:solidFill>
                <a:effectLst/>
                <a:latin typeface="CMR12"/>
              </a:rPr>
              <a:t>• Comparing </a:t>
            </a:r>
            <a:r>
              <a:rPr lang="en-US" sz="1800" b="0" i="0" dirty="0">
                <a:solidFill>
                  <a:srgbClr val="000000"/>
                </a:solidFill>
                <a:effectLst/>
                <a:latin typeface="CMR12"/>
              </a:rPr>
              <a:t>the results of the experiments performed with blind and sighted participants, some differences were observed. Among the most important, is the relative evaluation of audio and haptic devices. Due to their enhanced sensitivity to sounds, BVI users tend to evaluate audio solutions better than non-BVI. Also, the effect of repeating a task in the same environment, i.e., performing different rounds of the same experiment, may differ between sighted and blind use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Generally, the results reinforce the importance of having BVI users involved in the design of assistive devices from the early stages of the specification of requirement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43006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p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20" name="Google Shape;720;p31: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329105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69880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884564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6294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19268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69615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lide de título">
  <p:cSld name="Slide de título">
    <p:spTree>
      <p:nvGrpSpPr>
        <p:cNvPr id="1" name="Shape 13"/>
        <p:cNvGrpSpPr/>
        <p:nvPr/>
      </p:nvGrpSpPr>
      <p:grpSpPr>
        <a:xfrm>
          <a:off x="0" y="0"/>
          <a:ext cx="0" cy="0"/>
          <a:chOff x="0" y="0"/>
          <a:chExt cx="0" cy="0"/>
        </a:xfrm>
      </p:grpSpPr>
      <p:sp>
        <p:nvSpPr>
          <p:cNvPr id="14" name="Google Shape;14;p2"/>
          <p:cNvSpPr/>
          <p:nvPr/>
        </p:nvSpPr>
        <p:spPr>
          <a:xfrm>
            <a:off x="329592" y="-685800"/>
            <a:ext cx="3263900" cy="6718300"/>
          </a:xfrm>
          <a:prstGeom prst="roundRect">
            <a:avLst>
              <a:gd name="adj" fmla="val 16667"/>
            </a:avLst>
          </a:prstGeom>
          <a:solidFill>
            <a:srgbClr val="14285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15" name="Google Shape;15;p2"/>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pic>
        <p:nvPicPr>
          <p:cNvPr id="16" name="Google Shape;16;p2"/>
          <p:cNvPicPr preferRelativeResize="0"/>
          <p:nvPr/>
        </p:nvPicPr>
        <p:blipFill rotWithShape="1">
          <a:blip r:embed="rId2">
            <a:alphaModFix/>
          </a:blip>
          <a:srcRect/>
          <a:stretch/>
        </p:blipFill>
        <p:spPr>
          <a:xfrm>
            <a:off x="864669" y="4913194"/>
            <a:ext cx="2236562" cy="854202"/>
          </a:xfrm>
          <a:prstGeom prst="rect">
            <a:avLst/>
          </a:prstGeom>
          <a:noFill/>
          <a:ln>
            <a:noFill/>
          </a:ln>
        </p:spPr>
      </p:pic>
      <p:pic>
        <p:nvPicPr>
          <p:cNvPr id="17" name="Google Shape;17;p2"/>
          <p:cNvPicPr preferRelativeResize="0"/>
          <p:nvPr/>
        </p:nvPicPr>
        <p:blipFill rotWithShape="1">
          <a:blip r:embed="rId3">
            <a:alphaModFix/>
          </a:blip>
          <a:srcRect/>
          <a:stretch/>
        </p:blipFill>
        <p:spPr>
          <a:xfrm>
            <a:off x="556308" y="4044069"/>
            <a:ext cx="940496" cy="701417"/>
          </a:xfrm>
          <a:prstGeom prst="rect">
            <a:avLst/>
          </a:prstGeom>
          <a:noFill/>
          <a:ln>
            <a:noFill/>
          </a:ln>
        </p:spPr>
      </p:pic>
      <p:pic>
        <p:nvPicPr>
          <p:cNvPr id="18" name="Google Shape;18;p2"/>
          <p:cNvPicPr preferRelativeResize="0"/>
          <p:nvPr/>
        </p:nvPicPr>
        <p:blipFill rotWithShape="1">
          <a:blip r:embed="rId4">
            <a:alphaModFix/>
          </a:blip>
          <a:srcRect l="39543" t="19727" r="4201" b="21853"/>
          <a:stretch/>
        </p:blipFill>
        <p:spPr>
          <a:xfrm>
            <a:off x="1574077" y="4049893"/>
            <a:ext cx="1835594" cy="695594"/>
          </a:xfrm>
          <a:prstGeom prst="rect">
            <a:avLst/>
          </a:prstGeom>
          <a:noFill/>
          <a:ln>
            <a:noFill/>
          </a:ln>
        </p:spPr>
      </p:pic>
      <p:sp>
        <p:nvSpPr>
          <p:cNvPr id="19" name="Google Shape;19;p2"/>
          <p:cNvSpPr txBox="1">
            <a:spLocks noGrp="1"/>
          </p:cNvSpPr>
          <p:nvPr>
            <p:ph type="body" idx="1"/>
          </p:nvPr>
        </p:nvSpPr>
        <p:spPr>
          <a:xfrm>
            <a:off x="3885029" y="508658"/>
            <a:ext cx="5493600" cy="628650"/>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555555"/>
              </a:buClr>
              <a:buSzPts val="1800"/>
              <a:buNone/>
              <a:defRPr sz="18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2"/>
          <p:cNvSpPr txBox="1">
            <a:spLocks noGrp="1"/>
          </p:cNvSpPr>
          <p:nvPr>
            <p:ph type="body" idx="2"/>
          </p:nvPr>
        </p:nvSpPr>
        <p:spPr>
          <a:xfrm>
            <a:off x="3906629" y="1980529"/>
            <a:ext cx="5472000" cy="1639941"/>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chemeClr val="dk1"/>
              </a:buClr>
              <a:buSzPts val="3600"/>
              <a:buNone/>
              <a:defRPr sz="3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 name="Google Shape;21;p2"/>
          <p:cNvSpPr txBox="1">
            <a:spLocks noGrp="1"/>
          </p:cNvSpPr>
          <p:nvPr>
            <p:ph type="body" idx="3"/>
          </p:nvPr>
        </p:nvSpPr>
        <p:spPr>
          <a:xfrm>
            <a:off x="3906629" y="4049720"/>
            <a:ext cx="5472000" cy="382587"/>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555555"/>
              </a:buClr>
              <a:buSzPts val="1800"/>
              <a:buNone/>
              <a:defRPr sz="18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body" idx="4"/>
          </p:nvPr>
        </p:nvSpPr>
        <p:spPr>
          <a:xfrm>
            <a:off x="3906629" y="5649913"/>
            <a:ext cx="5472000" cy="382587"/>
          </a:xfrm>
          <a:prstGeom prst="rect">
            <a:avLst/>
          </a:prstGeom>
          <a:noFill/>
          <a:ln>
            <a:noFill/>
          </a:ln>
        </p:spPr>
        <p:txBody>
          <a:bodyPr spcFirstLastPara="1" wrap="square" lIns="91425" tIns="45700" rIns="91425" bIns="45700" anchor="t" anchorCtr="0">
            <a:noAutofit/>
          </a:bodyPr>
          <a:lstStyle>
            <a:lvl1pPr marL="457200" lvl="0" indent="-228600" algn="r">
              <a:lnSpc>
                <a:spcPct val="90000"/>
              </a:lnSpc>
              <a:spcBef>
                <a:spcPts val="1000"/>
              </a:spcBef>
              <a:spcAft>
                <a:spcPts val="0"/>
              </a:spcAft>
              <a:buClr>
                <a:srgbClr val="555555"/>
              </a:buClr>
              <a:buSzPts val="1600"/>
              <a:buNone/>
              <a:defRPr sz="16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Imagem com Legenda" type="picTx">
  <p:cSld name="PICTURE_WITH_CAPTION_TEXT">
    <p:spTree>
      <p:nvGrpSpPr>
        <p:cNvPr id="1" name="Shape 206"/>
        <p:cNvGrpSpPr/>
        <p:nvPr/>
      </p:nvGrpSpPr>
      <p:grpSpPr>
        <a:xfrm>
          <a:off x="0" y="0"/>
          <a:ext cx="0" cy="0"/>
          <a:chOff x="0" y="0"/>
          <a:chExt cx="0" cy="0"/>
        </a:xfrm>
      </p:grpSpPr>
      <p:sp>
        <p:nvSpPr>
          <p:cNvPr id="207" name="Google Shape;207;p27"/>
          <p:cNvSpPr txBox="1">
            <a:spLocks noGrp="1"/>
          </p:cNvSpPr>
          <p:nvPr>
            <p:ph type="title"/>
          </p:nvPr>
        </p:nvSpPr>
        <p:spPr>
          <a:xfrm>
            <a:off x="668112" y="457200"/>
            <a:ext cx="3128382"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 name="Google Shape;208;p27"/>
          <p:cNvSpPr>
            <a:spLocks noGrp="1"/>
          </p:cNvSpPr>
          <p:nvPr>
            <p:ph type="pic" idx="2"/>
          </p:nvPr>
        </p:nvSpPr>
        <p:spPr>
          <a:xfrm>
            <a:off x="4123604" y="987427"/>
            <a:ext cx="4910435" cy="487362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209" name="Google Shape;209;p27"/>
          <p:cNvSpPr txBox="1">
            <a:spLocks noGrp="1"/>
          </p:cNvSpPr>
          <p:nvPr>
            <p:ph type="body" idx="1"/>
          </p:nvPr>
        </p:nvSpPr>
        <p:spPr>
          <a:xfrm>
            <a:off x="668112" y="2057400"/>
            <a:ext cx="3128382"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10" name="Google Shape;210;p27"/>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1" name="Google Shape;211;p27"/>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2" name="Google Shape;212;p27"/>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ítulo e texto vertical" type="vertTx">
  <p:cSld name="VERTICAL_TEXT">
    <p:spTree>
      <p:nvGrpSpPr>
        <p:cNvPr id="1" name="Shape 213"/>
        <p:cNvGrpSpPr/>
        <p:nvPr/>
      </p:nvGrpSpPr>
      <p:grpSpPr>
        <a:xfrm>
          <a:off x="0" y="0"/>
          <a:ext cx="0" cy="0"/>
          <a:chOff x="0" y="0"/>
          <a:chExt cx="0" cy="0"/>
        </a:xfrm>
      </p:grpSpPr>
      <p:sp>
        <p:nvSpPr>
          <p:cNvPr id="214" name="Google Shape;214;p28"/>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 name="Google Shape;215;p28"/>
          <p:cNvSpPr txBox="1">
            <a:spLocks noGrp="1"/>
          </p:cNvSpPr>
          <p:nvPr>
            <p:ph type="body" idx="1"/>
          </p:nvPr>
        </p:nvSpPr>
        <p:spPr>
          <a:xfrm rot="5400000">
            <a:off x="2674143" y="-181670"/>
            <a:ext cx="4351338" cy="8365927"/>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6" name="Google Shape;216;p28"/>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7" name="Google Shape;217;p28"/>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8" name="Google Shape;218;p28"/>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ítulo e texto verticais" type="vertTitleAndTx">
  <p:cSld name="VERTICAL_TITLE_AND_VERTICAL_TEXT">
    <p:spTree>
      <p:nvGrpSpPr>
        <p:cNvPr id="1" name="Shape 219"/>
        <p:cNvGrpSpPr/>
        <p:nvPr/>
      </p:nvGrpSpPr>
      <p:grpSpPr>
        <a:xfrm>
          <a:off x="0" y="0"/>
          <a:ext cx="0" cy="0"/>
          <a:chOff x="0" y="0"/>
          <a:chExt cx="0" cy="0"/>
        </a:xfrm>
      </p:grpSpPr>
      <p:sp>
        <p:nvSpPr>
          <p:cNvPr id="220" name="Google Shape;220;p29"/>
          <p:cNvSpPr txBox="1">
            <a:spLocks noGrp="1"/>
          </p:cNvSpPr>
          <p:nvPr>
            <p:ph type="title"/>
          </p:nvPr>
        </p:nvSpPr>
        <p:spPr>
          <a:xfrm rot="5400000">
            <a:off x="5081116" y="2225303"/>
            <a:ext cx="5811838" cy="2091482"/>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 name="Google Shape;221;p29"/>
          <p:cNvSpPr txBox="1">
            <a:spLocks noGrp="1"/>
          </p:cNvSpPr>
          <p:nvPr>
            <p:ph type="body" idx="1"/>
          </p:nvPr>
        </p:nvSpPr>
        <p:spPr>
          <a:xfrm rot="5400000">
            <a:off x="837531" y="194444"/>
            <a:ext cx="5811838" cy="6153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 name="Google Shape;222;p29"/>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23" name="Google Shape;223;p29"/>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24" name="Google Shape;224;p29"/>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ítulo e conteúdo">
  <p:cSld name="Título e conteúdo">
    <p:spTree>
      <p:nvGrpSpPr>
        <p:cNvPr id="1" name="Shape 23"/>
        <p:cNvGrpSpPr/>
        <p:nvPr/>
      </p:nvGrpSpPr>
      <p:grpSpPr>
        <a:xfrm>
          <a:off x="0" y="0"/>
          <a:ext cx="0" cy="0"/>
          <a:chOff x="0" y="0"/>
          <a:chExt cx="0" cy="0"/>
        </a:xfrm>
      </p:grpSpPr>
      <p:sp>
        <p:nvSpPr>
          <p:cNvPr id="24" name="Google Shape;24;p3"/>
          <p:cNvSpPr txBox="1">
            <a:spLocks noGrp="1"/>
          </p:cNvSpPr>
          <p:nvPr>
            <p:ph type="body" idx="1"/>
          </p:nvPr>
        </p:nvSpPr>
        <p:spPr>
          <a:xfrm>
            <a:off x="334949" y="792000"/>
            <a:ext cx="9043200" cy="5226663"/>
          </a:xfrm>
          <a:prstGeom prst="rect">
            <a:avLst/>
          </a:prstGeom>
          <a:noFill/>
          <a:ln>
            <a:noFill/>
          </a:ln>
        </p:spPr>
        <p:txBody>
          <a:bodyPr spcFirstLastPara="1" wrap="square" lIns="91425" tIns="45700" rIns="91425" bIns="45700" anchor="t" anchorCtr="0">
            <a:noAutofit/>
          </a:bodyPr>
          <a:lstStyle>
            <a:lvl1pPr marL="457200" lvl="0" indent="-396240" algn="l">
              <a:lnSpc>
                <a:spcPct val="90000"/>
              </a:lnSpc>
              <a:spcBef>
                <a:spcPts val="1000"/>
              </a:spcBef>
              <a:spcAft>
                <a:spcPts val="0"/>
              </a:spcAft>
              <a:buClr>
                <a:srgbClr val="193278"/>
              </a:buClr>
              <a:buSzPts val="2640"/>
              <a:buFont typeface="Noto Sans Symbols"/>
              <a:buChar char="▪"/>
              <a:defRPr sz="2200">
                <a:solidFill>
                  <a:schemeClr val="dk1"/>
                </a:solidFill>
              </a:defRPr>
            </a:lvl1pPr>
            <a:lvl2pPr marL="914400" lvl="1" indent="-292100" algn="l">
              <a:lnSpc>
                <a:spcPct val="90000"/>
              </a:lnSpc>
              <a:spcBef>
                <a:spcPts val="600"/>
              </a:spcBef>
              <a:spcAft>
                <a:spcPts val="0"/>
              </a:spcAft>
              <a:buClr>
                <a:srgbClr val="193278"/>
              </a:buClr>
              <a:buSzPts val="1000"/>
              <a:buFont typeface="Noto Sans Symbols"/>
              <a:buChar char="❑"/>
              <a:defRPr sz="2000"/>
            </a:lvl2pPr>
            <a:lvl3pPr marL="1371600" lvl="2" indent="-355600" algn="l">
              <a:lnSpc>
                <a:spcPct val="90000"/>
              </a:lnSpc>
              <a:spcBef>
                <a:spcPts val="600"/>
              </a:spcBef>
              <a:spcAft>
                <a:spcPts val="0"/>
              </a:spcAft>
              <a:buClr>
                <a:srgbClr val="193278"/>
              </a:buClr>
              <a:buSzPts val="2000"/>
              <a:buFont typeface="Calibri"/>
              <a:buChar char="–"/>
              <a:defRPr/>
            </a:lvl3pPr>
            <a:lvl4pPr marL="1828800" lvl="3" indent="-342900" algn="l">
              <a:lnSpc>
                <a:spcPct val="90000"/>
              </a:lnSpc>
              <a:spcBef>
                <a:spcPts val="6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5" name="Google Shape;25;p3"/>
          <p:cNvPicPr preferRelativeResize="0"/>
          <p:nvPr/>
        </p:nvPicPr>
        <p:blipFill rotWithShape="1">
          <a:blip r:embed="rId2">
            <a:alphaModFix/>
          </a:blip>
          <a:srcRect/>
          <a:stretch/>
        </p:blipFill>
        <p:spPr>
          <a:xfrm>
            <a:off x="341701" y="6317788"/>
            <a:ext cx="1126302" cy="432000"/>
          </a:xfrm>
          <a:prstGeom prst="rect">
            <a:avLst/>
          </a:prstGeom>
          <a:noFill/>
          <a:ln>
            <a:noFill/>
          </a:ln>
        </p:spPr>
      </p:pic>
      <p:pic>
        <p:nvPicPr>
          <p:cNvPr id="26" name="Google Shape;26;p3"/>
          <p:cNvPicPr preferRelativeResize="0"/>
          <p:nvPr/>
        </p:nvPicPr>
        <p:blipFill rotWithShape="1">
          <a:blip r:embed="rId3">
            <a:alphaModFix/>
          </a:blip>
          <a:srcRect/>
          <a:stretch/>
        </p:blipFill>
        <p:spPr>
          <a:xfrm>
            <a:off x="1580029" y="6330273"/>
            <a:ext cx="545768" cy="407030"/>
          </a:xfrm>
          <a:prstGeom prst="rect">
            <a:avLst/>
          </a:prstGeom>
          <a:noFill/>
          <a:ln>
            <a:noFill/>
          </a:ln>
        </p:spPr>
      </p:pic>
      <p:pic>
        <p:nvPicPr>
          <p:cNvPr id="27" name="Google Shape;27;p3"/>
          <p:cNvPicPr preferRelativeResize="0"/>
          <p:nvPr/>
        </p:nvPicPr>
        <p:blipFill rotWithShape="1">
          <a:blip r:embed="rId4">
            <a:alphaModFix/>
          </a:blip>
          <a:srcRect l="39543" t="19727" r="4201" b="21853"/>
          <a:stretch/>
        </p:blipFill>
        <p:spPr>
          <a:xfrm>
            <a:off x="2175481" y="6336095"/>
            <a:ext cx="1074110" cy="407032"/>
          </a:xfrm>
          <a:prstGeom prst="rect">
            <a:avLst/>
          </a:prstGeom>
          <a:noFill/>
          <a:ln>
            <a:noFill/>
          </a:ln>
        </p:spPr>
      </p:pic>
      <p:cxnSp>
        <p:nvCxnSpPr>
          <p:cNvPr id="28" name="Google Shape;28;p3"/>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sp>
        <p:nvSpPr>
          <p:cNvPr id="29" name="Google Shape;29;p3"/>
          <p:cNvSpPr/>
          <p:nvPr/>
        </p:nvSpPr>
        <p:spPr>
          <a:xfrm>
            <a:off x="-375724" y="72000"/>
            <a:ext cx="9975942" cy="576000"/>
          </a:xfrm>
          <a:prstGeom prst="roundRect">
            <a:avLst>
              <a:gd name="adj" fmla="val 16667"/>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3"/>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555555"/>
              </a:buClr>
              <a:buSzPts val="2400"/>
              <a:buNone/>
              <a:defRPr sz="24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3"/>
          <p:cNvSpPr txBox="1">
            <a:spLocks noGrp="1"/>
          </p:cNvSpPr>
          <p:nvPr>
            <p:ph type="body" idx="3"/>
          </p:nvPr>
        </p:nvSpPr>
        <p:spPr>
          <a:xfrm>
            <a:off x="334949" y="5950424"/>
            <a:ext cx="4598609" cy="230832"/>
          </a:xfrm>
          <a:prstGeom prst="rect">
            <a:avLst/>
          </a:prstGeom>
          <a:noFill/>
          <a:ln>
            <a:noFill/>
          </a:ln>
        </p:spPr>
        <p:txBody>
          <a:bodyPr spcFirstLastPara="1" wrap="square" lIns="0" tIns="0" rIns="0" bIns="45700" anchor="b" anchorCtr="0">
            <a:noAutofit/>
          </a:bodyPr>
          <a:lstStyle>
            <a:lvl1pPr marL="457200" lvl="0" indent="-228600" algn="l">
              <a:lnSpc>
                <a:spcPct val="100000"/>
              </a:lnSpc>
              <a:spcBef>
                <a:spcPts val="0"/>
              </a:spcBef>
              <a:spcAft>
                <a:spcPts val="0"/>
              </a:spcAft>
              <a:buClr>
                <a:schemeClr val="dk1"/>
              </a:buClr>
              <a:buSzPts val="1200"/>
              <a:buNone/>
              <a:defRPr sz="1200" b="0" i="0" u="none">
                <a:solidFill>
                  <a:schemeClr val="dk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Final">
  <p:cSld name="Final">
    <p:spTree>
      <p:nvGrpSpPr>
        <p:cNvPr id="1" name="Shape 152"/>
        <p:cNvGrpSpPr/>
        <p:nvPr/>
      </p:nvGrpSpPr>
      <p:grpSpPr>
        <a:xfrm>
          <a:off x="0" y="0"/>
          <a:ext cx="0" cy="0"/>
          <a:chOff x="0" y="0"/>
          <a:chExt cx="0" cy="0"/>
        </a:xfrm>
      </p:grpSpPr>
      <p:sp>
        <p:nvSpPr>
          <p:cNvPr id="153" name="Google Shape;153;p19"/>
          <p:cNvSpPr/>
          <p:nvPr/>
        </p:nvSpPr>
        <p:spPr>
          <a:xfrm>
            <a:off x="329592" y="-685800"/>
            <a:ext cx="3263900" cy="6718300"/>
          </a:xfrm>
          <a:prstGeom prst="roundRect">
            <a:avLst>
              <a:gd name="adj" fmla="val 16667"/>
            </a:avLst>
          </a:prstGeom>
          <a:solidFill>
            <a:srgbClr val="14285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54" name="Google Shape;154;p19"/>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pic>
        <p:nvPicPr>
          <p:cNvPr id="155" name="Google Shape;155;p19"/>
          <p:cNvPicPr preferRelativeResize="0"/>
          <p:nvPr/>
        </p:nvPicPr>
        <p:blipFill rotWithShape="1">
          <a:blip r:embed="rId2">
            <a:alphaModFix/>
          </a:blip>
          <a:srcRect/>
          <a:stretch/>
        </p:blipFill>
        <p:spPr>
          <a:xfrm>
            <a:off x="864669" y="4913194"/>
            <a:ext cx="2236562" cy="854202"/>
          </a:xfrm>
          <a:prstGeom prst="rect">
            <a:avLst/>
          </a:prstGeom>
          <a:noFill/>
          <a:ln>
            <a:noFill/>
          </a:ln>
        </p:spPr>
      </p:pic>
      <p:pic>
        <p:nvPicPr>
          <p:cNvPr id="156" name="Google Shape;156;p19"/>
          <p:cNvPicPr preferRelativeResize="0"/>
          <p:nvPr/>
        </p:nvPicPr>
        <p:blipFill rotWithShape="1">
          <a:blip r:embed="rId3">
            <a:alphaModFix/>
          </a:blip>
          <a:srcRect/>
          <a:stretch/>
        </p:blipFill>
        <p:spPr>
          <a:xfrm>
            <a:off x="556308" y="4044069"/>
            <a:ext cx="940496" cy="701417"/>
          </a:xfrm>
          <a:prstGeom prst="rect">
            <a:avLst/>
          </a:prstGeom>
          <a:noFill/>
          <a:ln>
            <a:noFill/>
          </a:ln>
        </p:spPr>
      </p:pic>
      <p:pic>
        <p:nvPicPr>
          <p:cNvPr id="157" name="Google Shape;157;p19"/>
          <p:cNvPicPr preferRelativeResize="0"/>
          <p:nvPr/>
        </p:nvPicPr>
        <p:blipFill rotWithShape="1">
          <a:blip r:embed="rId4">
            <a:alphaModFix/>
          </a:blip>
          <a:srcRect l="39543" t="19727" r="4201" b="21853"/>
          <a:stretch/>
        </p:blipFill>
        <p:spPr>
          <a:xfrm>
            <a:off x="1574077" y="4049893"/>
            <a:ext cx="1835594" cy="695594"/>
          </a:xfrm>
          <a:prstGeom prst="rect">
            <a:avLst/>
          </a:prstGeom>
          <a:noFill/>
          <a:ln>
            <a:noFill/>
          </a:ln>
        </p:spPr>
      </p:pic>
      <p:sp>
        <p:nvSpPr>
          <p:cNvPr id="158" name="Google Shape;158;p19"/>
          <p:cNvSpPr txBox="1">
            <a:spLocks noGrp="1"/>
          </p:cNvSpPr>
          <p:nvPr>
            <p:ph type="body" idx="1"/>
          </p:nvPr>
        </p:nvSpPr>
        <p:spPr>
          <a:xfrm>
            <a:off x="3854220" y="1753883"/>
            <a:ext cx="5471999" cy="770965"/>
          </a:xfrm>
          <a:prstGeom prst="rect">
            <a:avLst/>
          </a:prstGeom>
          <a:noFill/>
          <a:ln>
            <a:noFill/>
          </a:ln>
        </p:spPr>
        <p:txBody>
          <a:bodyPr spcFirstLastPara="1" wrap="square" lIns="91425" tIns="45700" rIns="91425" bIns="45700" anchor="t" anchorCtr="0">
            <a:noAutofit/>
          </a:bodyPr>
          <a:lstStyle>
            <a:lvl1pPr marL="457200" marR="0" lvl="0" indent="-228600" algn="ctr">
              <a:lnSpc>
                <a:spcPct val="90000"/>
              </a:lnSpc>
              <a:spcBef>
                <a:spcPts val="1000"/>
              </a:spcBef>
              <a:spcAft>
                <a:spcPts val="0"/>
              </a:spcAft>
              <a:buClr>
                <a:srgbClr val="193278"/>
              </a:buClr>
              <a:buSzPts val="3600"/>
              <a:buFont typeface="Arial"/>
              <a:buNone/>
              <a:defRPr sz="3600" b="1" i="0" u="none">
                <a:solidFill>
                  <a:srgbClr val="193278"/>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19"/>
          <p:cNvSpPr txBox="1">
            <a:spLocks noGrp="1"/>
          </p:cNvSpPr>
          <p:nvPr>
            <p:ph type="body" idx="2"/>
          </p:nvPr>
        </p:nvSpPr>
        <p:spPr>
          <a:xfrm>
            <a:off x="3959244" y="4060198"/>
            <a:ext cx="5471999" cy="1958466"/>
          </a:xfrm>
          <a:prstGeom prst="rect">
            <a:avLst/>
          </a:prstGeom>
          <a:noFill/>
          <a:ln>
            <a:noFill/>
          </a:ln>
        </p:spPr>
        <p:txBody>
          <a:bodyPr spcFirstLastPara="1" wrap="square" lIns="91425" tIns="45700" rIns="91425" bIns="45700" anchor="t" anchorCtr="0">
            <a:noAutofit/>
          </a:bodyPr>
          <a:lstStyle>
            <a:lvl1pPr marL="457200" marR="0" lvl="0" indent="-228600" algn="r">
              <a:lnSpc>
                <a:spcPct val="90000"/>
              </a:lnSpc>
              <a:spcBef>
                <a:spcPts val="1000"/>
              </a:spcBef>
              <a:spcAft>
                <a:spcPts val="0"/>
              </a:spcAft>
              <a:buClr>
                <a:srgbClr val="555555"/>
              </a:buClr>
              <a:buSzPts val="1800"/>
              <a:buFont typeface="Arial"/>
              <a:buNone/>
              <a:defRPr sz="1800" b="1" i="0" u="none">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abeçalho da Seção" type="secHead">
  <p:cSld name="SECTION_HEADER">
    <p:spTree>
      <p:nvGrpSpPr>
        <p:cNvPr id="1" name="Shape 168"/>
        <p:cNvGrpSpPr/>
        <p:nvPr/>
      </p:nvGrpSpPr>
      <p:grpSpPr>
        <a:xfrm>
          <a:off x="0" y="0"/>
          <a:ext cx="0" cy="0"/>
          <a:chOff x="0" y="0"/>
          <a:chExt cx="0" cy="0"/>
        </a:xfrm>
      </p:grpSpPr>
      <p:sp>
        <p:nvSpPr>
          <p:cNvPr id="169" name="Google Shape;169;p21"/>
          <p:cNvSpPr txBox="1">
            <a:spLocks noGrp="1"/>
          </p:cNvSpPr>
          <p:nvPr>
            <p:ph type="title"/>
          </p:nvPr>
        </p:nvSpPr>
        <p:spPr>
          <a:xfrm>
            <a:off x="661798" y="1709740"/>
            <a:ext cx="8365927" cy="285273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 name="Google Shape;170;p21"/>
          <p:cNvSpPr txBox="1">
            <a:spLocks noGrp="1"/>
          </p:cNvSpPr>
          <p:nvPr>
            <p:ph type="body" idx="1"/>
          </p:nvPr>
        </p:nvSpPr>
        <p:spPr>
          <a:xfrm>
            <a:off x="661798" y="4589465"/>
            <a:ext cx="8365927" cy="1500187"/>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2400"/>
              <a:buNone/>
              <a:defRPr sz="2400">
                <a:solidFill>
                  <a:schemeClr val="dk1"/>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71" name="Google Shape;171;p21"/>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2" name="Google Shape;172;p21"/>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3" name="Google Shape;173;p21"/>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uas Partes de Conteúdo" type="twoObj">
  <p:cSld name="TWO_OBJECTS">
    <p:spTree>
      <p:nvGrpSpPr>
        <p:cNvPr id="1" name="Shape 174"/>
        <p:cNvGrpSpPr/>
        <p:nvPr/>
      </p:nvGrpSpPr>
      <p:grpSpPr>
        <a:xfrm>
          <a:off x="0" y="0"/>
          <a:ext cx="0" cy="0"/>
          <a:chOff x="0" y="0"/>
          <a:chExt cx="0" cy="0"/>
        </a:xfrm>
      </p:grpSpPr>
      <p:sp>
        <p:nvSpPr>
          <p:cNvPr id="175" name="Google Shape;175;p22"/>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 name="Google Shape;176;p22"/>
          <p:cNvSpPr txBox="1">
            <a:spLocks noGrp="1"/>
          </p:cNvSpPr>
          <p:nvPr>
            <p:ph type="body" idx="1"/>
          </p:nvPr>
        </p:nvSpPr>
        <p:spPr>
          <a:xfrm>
            <a:off x="666849" y="1825625"/>
            <a:ext cx="4122341"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 name="Google Shape;177;p22"/>
          <p:cNvSpPr txBox="1">
            <a:spLocks noGrp="1"/>
          </p:cNvSpPr>
          <p:nvPr>
            <p:ph type="body" idx="2"/>
          </p:nvPr>
        </p:nvSpPr>
        <p:spPr>
          <a:xfrm>
            <a:off x="4910435" y="1825625"/>
            <a:ext cx="4122341"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22"/>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9" name="Google Shape;179;p22"/>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0" name="Google Shape;180;p22"/>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ação" type="twoTxTwoObj">
  <p:cSld name="TWO_OBJECTS_WITH_TEXT">
    <p:spTree>
      <p:nvGrpSpPr>
        <p:cNvPr id="1" name="Shape 181"/>
        <p:cNvGrpSpPr/>
        <p:nvPr/>
      </p:nvGrpSpPr>
      <p:grpSpPr>
        <a:xfrm>
          <a:off x="0" y="0"/>
          <a:ext cx="0" cy="0"/>
          <a:chOff x="0" y="0"/>
          <a:chExt cx="0" cy="0"/>
        </a:xfrm>
      </p:grpSpPr>
      <p:sp>
        <p:nvSpPr>
          <p:cNvPr id="182" name="Google Shape;182;p23"/>
          <p:cNvSpPr txBox="1">
            <a:spLocks noGrp="1"/>
          </p:cNvSpPr>
          <p:nvPr>
            <p:ph type="title"/>
          </p:nvPr>
        </p:nvSpPr>
        <p:spPr>
          <a:xfrm>
            <a:off x="668112"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 name="Google Shape;183;p23"/>
          <p:cNvSpPr txBox="1">
            <a:spLocks noGrp="1"/>
          </p:cNvSpPr>
          <p:nvPr>
            <p:ph type="body" idx="1"/>
          </p:nvPr>
        </p:nvSpPr>
        <p:spPr>
          <a:xfrm>
            <a:off x="668114" y="1681163"/>
            <a:ext cx="4103395"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4" name="Google Shape;184;p23"/>
          <p:cNvSpPr txBox="1">
            <a:spLocks noGrp="1"/>
          </p:cNvSpPr>
          <p:nvPr>
            <p:ph type="body" idx="2"/>
          </p:nvPr>
        </p:nvSpPr>
        <p:spPr>
          <a:xfrm>
            <a:off x="668114" y="2505075"/>
            <a:ext cx="4103395"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23"/>
          <p:cNvSpPr txBox="1">
            <a:spLocks noGrp="1"/>
          </p:cNvSpPr>
          <p:nvPr>
            <p:ph type="body" idx="3"/>
          </p:nvPr>
        </p:nvSpPr>
        <p:spPr>
          <a:xfrm>
            <a:off x="4910436" y="1681163"/>
            <a:ext cx="4123604"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6" name="Google Shape;186;p23"/>
          <p:cNvSpPr txBox="1">
            <a:spLocks noGrp="1"/>
          </p:cNvSpPr>
          <p:nvPr>
            <p:ph type="body" idx="4"/>
          </p:nvPr>
        </p:nvSpPr>
        <p:spPr>
          <a:xfrm>
            <a:off x="4910436" y="2505075"/>
            <a:ext cx="4123604"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 name="Google Shape;187;p23"/>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8" name="Google Shape;188;p23"/>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9" name="Google Shape;189;p23"/>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omente título" type="titleOnly">
  <p:cSld name="TITLE_ONLY">
    <p:spTree>
      <p:nvGrpSpPr>
        <p:cNvPr id="1" name="Shape 190"/>
        <p:cNvGrpSpPr/>
        <p:nvPr/>
      </p:nvGrpSpPr>
      <p:grpSpPr>
        <a:xfrm>
          <a:off x="0" y="0"/>
          <a:ext cx="0" cy="0"/>
          <a:chOff x="0" y="0"/>
          <a:chExt cx="0" cy="0"/>
        </a:xfrm>
      </p:grpSpPr>
      <p:sp>
        <p:nvSpPr>
          <p:cNvPr id="191" name="Google Shape;191;p24"/>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 name="Google Shape;192;p24"/>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3" name="Google Shape;193;p24"/>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4" name="Google Shape;194;p24"/>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Em branco" type="blank">
  <p:cSld name="BLANK">
    <p:spTree>
      <p:nvGrpSpPr>
        <p:cNvPr id="1" name="Shape 195"/>
        <p:cNvGrpSpPr/>
        <p:nvPr/>
      </p:nvGrpSpPr>
      <p:grpSpPr>
        <a:xfrm>
          <a:off x="0" y="0"/>
          <a:ext cx="0" cy="0"/>
          <a:chOff x="0" y="0"/>
          <a:chExt cx="0" cy="0"/>
        </a:xfrm>
      </p:grpSpPr>
      <p:sp>
        <p:nvSpPr>
          <p:cNvPr id="196" name="Google Shape;196;p25"/>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7" name="Google Shape;197;p25"/>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8" name="Google Shape;198;p25"/>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údo com Legenda" type="objTx">
  <p:cSld name="OBJECT_WITH_CAPTION_TEXT">
    <p:spTree>
      <p:nvGrpSpPr>
        <p:cNvPr id="1" name="Shape 199"/>
        <p:cNvGrpSpPr/>
        <p:nvPr/>
      </p:nvGrpSpPr>
      <p:grpSpPr>
        <a:xfrm>
          <a:off x="0" y="0"/>
          <a:ext cx="0" cy="0"/>
          <a:chOff x="0" y="0"/>
          <a:chExt cx="0" cy="0"/>
        </a:xfrm>
      </p:grpSpPr>
      <p:sp>
        <p:nvSpPr>
          <p:cNvPr id="200" name="Google Shape;200;p26"/>
          <p:cNvSpPr txBox="1">
            <a:spLocks noGrp="1"/>
          </p:cNvSpPr>
          <p:nvPr>
            <p:ph type="title"/>
          </p:nvPr>
        </p:nvSpPr>
        <p:spPr>
          <a:xfrm>
            <a:off x="668112" y="457200"/>
            <a:ext cx="3128382"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26"/>
          <p:cNvSpPr txBox="1">
            <a:spLocks noGrp="1"/>
          </p:cNvSpPr>
          <p:nvPr>
            <p:ph type="body" idx="1"/>
          </p:nvPr>
        </p:nvSpPr>
        <p:spPr>
          <a:xfrm>
            <a:off x="4123604" y="987427"/>
            <a:ext cx="4910435" cy="4873625"/>
          </a:xfrm>
          <a:prstGeom prst="rect">
            <a:avLst/>
          </a:prstGeom>
          <a:noFill/>
          <a:ln>
            <a:noFill/>
          </a:ln>
        </p:spPr>
        <p:txBody>
          <a:bodyPr spcFirstLastPara="1" wrap="square" lIns="91425" tIns="45700" rIns="91425" bIns="45700" anchor="t" anchorCtr="0">
            <a:no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02" name="Google Shape;202;p26"/>
          <p:cNvSpPr txBox="1">
            <a:spLocks noGrp="1"/>
          </p:cNvSpPr>
          <p:nvPr>
            <p:ph type="body" idx="2"/>
          </p:nvPr>
        </p:nvSpPr>
        <p:spPr>
          <a:xfrm>
            <a:off x="668112" y="2057400"/>
            <a:ext cx="3128382"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03" name="Google Shape;203;p26"/>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4" name="Google Shape;204;p26"/>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5" name="Google Shape;205;p26"/>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66849" y="1825625"/>
            <a:ext cx="8365927"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p:nvPr/>
        </p:nvSpPr>
        <p:spPr>
          <a:xfrm>
            <a:off x="7785637" y="6370016"/>
            <a:ext cx="1654175" cy="366713"/>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fld id="{00000000-1234-1234-1234-123412341234}" type="slidenum">
              <a:rPr lang="pt-BR" sz="1800" b="0" i="0" u="none" strike="noStrike" cap="none">
                <a:solidFill>
                  <a:srgbClr val="555555"/>
                </a:solidFill>
                <a:latin typeface="Calibri"/>
                <a:ea typeface="Calibri"/>
                <a:cs typeface="Calibri"/>
                <a:sym typeface="Calibri"/>
              </a:rPr>
              <a:t>‹nº›</a:t>
            </a:fld>
            <a:endParaRPr sz="1800" b="0" i="0" u="none" strike="noStrike" cap="none">
              <a:solidFill>
                <a:srgbClr val="555555"/>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65"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7.xml"/><Relationship Id="rId7" Type="http://schemas.openxmlformats.org/officeDocument/2006/relationships/image" Target="../media/image1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notesSlide" Target="../notesSlides/notesSlide9.xml"/><Relationship Id="rId10" Type="http://schemas.openxmlformats.org/officeDocument/2006/relationships/image" Target="../media/image19.png"/><Relationship Id="rId4" Type="http://schemas.openxmlformats.org/officeDocument/2006/relationships/slideLayout" Target="../slideLayouts/slideLayout2.xml"/><Relationship Id="rId9"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28.svg"/><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30.sv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2.xml"/><Relationship Id="rId3" Type="http://schemas.openxmlformats.org/officeDocument/2006/relationships/tags" Target="../tags/tag4.xml"/><Relationship Id="rId21" Type="http://schemas.openxmlformats.org/officeDocument/2006/relationships/slide" Target="slide2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slide" Target="slide3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slide" Target="slide2.xml"/><Relationship Id="rId10" Type="http://schemas.openxmlformats.org/officeDocument/2006/relationships/tags" Target="../tags/tag11.xml"/><Relationship Id="rId19" Type="http://schemas.openxmlformats.org/officeDocument/2006/relationships/slide" Target="slide3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slide" Target="slide20.xml"/></Relationships>
</file>

<file path=ppt/slides/_rels/slide20.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slideLayout" Target="../slideLayouts/slideLayout2.xml"/><Relationship Id="rId3" Type="http://schemas.openxmlformats.org/officeDocument/2006/relationships/tags" Target="../tags/tag30.xml"/><Relationship Id="rId21" Type="http://schemas.openxmlformats.org/officeDocument/2006/relationships/slide" Target="slide24.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slide" Target="slide31.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slide" Target="slide2.xml"/><Relationship Id="rId10" Type="http://schemas.openxmlformats.org/officeDocument/2006/relationships/tags" Target="../tags/tag37.xml"/><Relationship Id="rId19" Type="http://schemas.openxmlformats.org/officeDocument/2006/relationships/slide" Target="slide32.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slide" Target="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slideLayout" Target="../slideLayouts/slideLayout2.xml"/><Relationship Id="rId3" Type="http://schemas.openxmlformats.org/officeDocument/2006/relationships/tags" Target="../tags/tag47.xml"/><Relationship Id="rId21" Type="http://schemas.openxmlformats.org/officeDocument/2006/relationships/slide" Target="slide24.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slide" Target="slide31.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slide" Target="slide2.xml"/><Relationship Id="rId10" Type="http://schemas.openxmlformats.org/officeDocument/2006/relationships/tags" Target="../tags/tag54.xml"/><Relationship Id="rId19" Type="http://schemas.openxmlformats.org/officeDocument/2006/relationships/slide" Target="slide32.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slide" Target="slide20.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slideLayout" Target="../slideLayouts/slideLayout2.xml"/><Relationship Id="rId3" Type="http://schemas.openxmlformats.org/officeDocument/2006/relationships/tags" Target="../tags/tag64.xml"/><Relationship Id="rId21" Type="http://schemas.openxmlformats.org/officeDocument/2006/relationships/slide" Target="slide24.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slide" Target="slide31.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slide" Target="slide2.xml"/><Relationship Id="rId10" Type="http://schemas.openxmlformats.org/officeDocument/2006/relationships/tags" Target="../tags/tag71.xml"/><Relationship Id="rId19" Type="http://schemas.openxmlformats.org/officeDocument/2006/relationships/slide" Target="slide32.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slide" Target="slide20.xml"/></Relationships>
</file>

<file path=ppt/slides/_rels/slide32.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slideLayout" Target="../slideLayouts/slideLayout2.xml"/><Relationship Id="rId3" Type="http://schemas.openxmlformats.org/officeDocument/2006/relationships/tags" Target="../tags/tag81.xml"/><Relationship Id="rId21" Type="http://schemas.openxmlformats.org/officeDocument/2006/relationships/slide" Target="slide24.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slide" Target="slide31.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slide" Target="slide2.xml"/><Relationship Id="rId10" Type="http://schemas.openxmlformats.org/officeDocument/2006/relationships/tags" Target="../tags/tag88.xml"/><Relationship Id="rId19" Type="http://schemas.openxmlformats.org/officeDocument/2006/relationships/slide" Target="slide32.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slide" Target="slide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png"/><Relationship Id="rId9" Type="http://schemas.openxmlformats.org/officeDocument/2006/relationships/image" Target="../media/image40.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7.jpe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7.jpeg"/><Relationship Id="rId7"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xml"/><Relationship Id="rId7" Type="http://schemas.openxmlformats.org/officeDocument/2006/relationships/image" Target="../media/image16.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notesSlide" Target="../notesSlides/notesSlide7.xml"/><Relationship Id="rId10" Type="http://schemas.openxmlformats.org/officeDocument/2006/relationships/image" Target="../media/image19.png"/><Relationship Id="rId4" Type="http://schemas.openxmlformats.org/officeDocument/2006/relationships/slideLayout" Target="../slideLayouts/slideLayout2.xml"/><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4.xml"/><Relationship Id="rId7"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notesSlide" Target="../notesSlides/notesSlide8.xml"/><Relationship Id="rId10" Type="http://schemas.openxmlformats.org/officeDocument/2006/relationships/image" Target="../media/image19.png"/><Relationship Id="rId4" Type="http://schemas.openxmlformats.org/officeDocument/2006/relationships/slideLayout" Target="../slideLayouts/slideLayout2.xml"/><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Google Shape;229;p30"/>
          <p:cNvSpPr txBox="1">
            <a:spLocks noGrp="1"/>
          </p:cNvSpPr>
          <p:nvPr>
            <p:ph type="body" idx="1"/>
          </p:nvPr>
        </p:nvSpPr>
        <p:spPr>
          <a:xfrm>
            <a:off x="3885029" y="508658"/>
            <a:ext cx="5493600" cy="628650"/>
          </a:xfrm>
          <a:prstGeom prst="rect">
            <a:avLst/>
          </a:prstGeom>
          <a:noFill/>
          <a:ln>
            <a:noFill/>
          </a:ln>
        </p:spPr>
        <p:txBody>
          <a:bodyPr spcFirstLastPara="1" wrap="square" lIns="91425" tIns="45700" rIns="91425" bIns="45700" anchor="t" anchorCtr="0">
            <a:noAutofit/>
          </a:bodyPr>
          <a:lstStyle/>
          <a:p>
            <a:pPr marL="228600">
              <a:spcBef>
                <a:spcPts val="0"/>
              </a:spcBef>
            </a:pPr>
            <a:r>
              <a:rPr lang="en-GB" b="0" i="1" dirty="0">
                <a:solidFill>
                  <a:srgbClr val="193278"/>
                </a:solidFill>
              </a:rPr>
              <a:t>Candidate for the degree of Master of Science:</a:t>
            </a:r>
          </a:p>
          <a:p>
            <a:pPr marL="228600"/>
            <a:r>
              <a:rPr lang="en-GB" dirty="0">
                <a:solidFill>
                  <a:srgbClr val="193278"/>
                </a:solidFill>
              </a:rPr>
              <a:t>Eng. Ivan de Souza Rehder</a:t>
            </a:r>
          </a:p>
        </p:txBody>
      </p:sp>
      <p:sp>
        <p:nvSpPr>
          <p:cNvPr id="230" name="Google Shape;230;p30"/>
          <p:cNvSpPr txBox="1">
            <a:spLocks noGrp="1"/>
          </p:cNvSpPr>
          <p:nvPr>
            <p:ph type="body" idx="2"/>
          </p:nvPr>
        </p:nvSpPr>
        <p:spPr>
          <a:xfrm>
            <a:off x="3906629" y="1512178"/>
            <a:ext cx="5472000" cy="1639941"/>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chemeClr val="dk1"/>
              </a:buClr>
              <a:buSzPts val="3600"/>
              <a:buNone/>
            </a:pPr>
            <a:r>
              <a:rPr lang="en-US" dirty="0"/>
              <a:t>Virtual reality for the human-</a:t>
            </a:r>
            <a:r>
              <a:rPr lang="en-US" dirty="0" err="1"/>
              <a:t>centred</a:t>
            </a:r>
            <a:r>
              <a:rPr lang="en-US" dirty="0"/>
              <a:t> design of assistive devices</a:t>
            </a:r>
          </a:p>
        </p:txBody>
      </p:sp>
      <p:sp>
        <p:nvSpPr>
          <p:cNvPr id="231" name="Google Shape;231;p30"/>
          <p:cNvSpPr txBox="1">
            <a:spLocks noGrp="1"/>
          </p:cNvSpPr>
          <p:nvPr>
            <p:ph type="body" idx="3"/>
          </p:nvPr>
        </p:nvSpPr>
        <p:spPr>
          <a:xfrm>
            <a:off x="3869458" y="3417783"/>
            <a:ext cx="5534737" cy="22321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555555"/>
              </a:buClr>
              <a:buSzPts val="1800"/>
              <a:buNone/>
            </a:pPr>
            <a:r>
              <a:rPr lang="en-US" sz="1600" b="0" i="1" dirty="0">
                <a:solidFill>
                  <a:srgbClr val="193278"/>
                </a:solidFill>
              </a:rPr>
              <a:t>Thesis Committee Composition:</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Chairperson:</a:t>
            </a:r>
            <a:r>
              <a:rPr lang="en-US" sz="1600" b="0" dirty="0">
                <a:solidFill>
                  <a:srgbClr val="193278"/>
                </a:solidFill>
              </a:rPr>
              <a:t> </a:t>
            </a:r>
            <a:r>
              <a:rPr lang="en-US" sz="1600" dirty="0">
                <a:solidFill>
                  <a:srgbClr val="193278"/>
                </a:solidFill>
              </a:rPr>
              <a:t>Prof. Dr. Luís Gonzaga </a:t>
            </a:r>
            <a:r>
              <a:rPr lang="en-US" sz="1600" dirty="0" err="1">
                <a:solidFill>
                  <a:srgbClr val="193278"/>
                </a:solidFill>
              </a:rPr>
              <a:t>Trabasso</a:t>
            </a:r>
            <a:r>
              <a:rPr lang="en-US" sz="1600" dirty="0">
                <a:solidFill>
                  <a:srgbClr val="193278"/>
                </a:solidFill>
              </a:rPr>
              <a:t>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Advisor: </a:t>
            </a:r>
            <a:r>
              <a:rPr lang="en-US" sz="1600" dirty="0">
                <a:solidFill>
                  <a:srgbClr val="193278"/>
                </a:solidFill>
              </a:rPr>
              <a:t>Profª. Drª. Emilia Villani (ITA)</a:t>
            </a:r>
          </a:p>
          <a:p>
            <a:pPr marL="0" indent="0" algn="l">
              <a:buSzPts val="1600"/>
            </a:pPr>
            <a:r>
              <a:rPr lang="en-US" sz="1600" b="0" i="1" dirty="0" err="1">
                <a:solidFill>
                  <a:srgbClr val="193278"/>
                </a:solidFill>
              </a:rPr>
              <a:t>Coadvisor</a:t>
            </a:r>
            <a:r>
              <a:rPr lang="en-US" sz="1600" b="0" i="1" dirty="0">
                <a:solidFill>
                  <a:srgbClr val="193278"/>
                </a:solidFill>
              </a:rPr>
              <a:t>:</a:t>
            </a:r>
            <a:r>
              <a:rPr lang="en-US" sz="1600" b="0" dirty="0">
                <a:solidFill>
                  <a:srgbClr val="193278"/>
                </a:solidFill>
              </a:rPr>
              <a:t> </a:t>
            </a:r>
            <a:r>
              <a:rPr lang="en-US" sz="1600" dirty="0">
                <a:solidFill>
                  <a:srgbClr val="193278"/>
                </a:solidFill>
              </a:rPr>
              <a:t>Prof. Dr. </a:t>
            </a:r>
            <a:r>
              <a:rPr lang="en-US" sz="1600" dirty="0" err="1">
                <a:solidFill>
                  <a:srgbClr val="193278"/>
                </a:solidFill>
              </a:rPr>
              <a:t>Edmar</a:t>
            </a:r>
            <a:r>
              <a:rPr lang="en-US" sz="1600" dirty="0">
                <a:solidFill>
                  <a:srgbClr val="193278"/>
                </a:solidFill>
              </a:rPr>
              <a:t> </a:t>
            </a:r>
            <a:r>
              <a:rPr lang="en-US" sz="1600" dirty="0" err="1">
                <a:solidFill>
                  <a:srgbClr val="193278"/>
                </a:solidFill>
              </a:rPr>
              <a:t>Thomaz</a:t>
            </a:r>
            <a:r>
              <a:rPr lang="en-US" sz="1600" dirty="0">
                <a:solidFill>
                  <a:srgbClr val="193278"/>
                </a:solidFill>
              </a:rPr>
              <a:t> da Silva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Internal member:</a:t>
            </a:r>
            <a:r>
              <a:rPr lang="en-US" sz="1600" b="0" dirty="0">
                <a:solidFill>
                  <a:srgbClr val="193278"/>
                </a:solidFill>
              </a:rPr>
              <a:t> </a:t>
            </a:r>
            <a:r>
              <a:rPr lang="en-US" sz="1600" dirty="0">
                <a:solidFill>
                  <a:srgbClr val="193278"/>
                </a:solidFill>
              </a:rPr>
              <a:t>Prof. Dr. Christopher S. </a:t>
            </a:r>
            <a:r>
              <a:rPr lang="en-US" sz="1600" dirty="0" err="1">
                <a:solidFill>
                  <a:srgbClr val="193278"/>
                </a:solidFill>
              </a:rPr>
              <a:t>Cerqueira</a:t>
            </a:r>
            <a:r>
              <a:rPr lang="en-US" sz="1600" dirty="0">
                <a:solidFill>
                  <a:srgbClr val="193278"/>
                </a:solidFill>
              </a:rPr>
              <a:t>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External member:</a:t>
            </a:r>
            <a:r>
              <a:rPr lang="en-US" sz="1600" b="0" dirty="0">
                <a:solidFill>
                  <a:srgbClr val="193278"/>
                </a:solidFill>
              </a:rPr>
              <a:t> </a:t>
            </a:r>
            <a:r>
              <a:rPr lang="en-US" sz="1600" dirty="0">
                <a:solidFill>
                  <a:srgbClr val="193278"/>
                </a:solidFill>
              </a:rPr>
              <a:t>Prof. Dr. </a:t>
            </a:r>
            <a:r>
              <a:rPr lang="en-US" sz="1600" dirty="0" err="1">
                <a:solidFill>
                  <a:srgbClr val="193278"/>
                </a:solidFill>
              </a:rPr>
              <a:t>Petter</a:t>
            </a:r>
            <a:r>
              <a:rPr lang="en-US" sz="1600" dirty="0">
                <a:solidFill>
                  <a:srgbClr val="193278"/>
                </a:solidFill>
              </a:rPr>
              <a:t> Krus(INPE)</a:t>
            </a:r>
          </a:p>
        </p:txBody>
      </p:sp>
      <p:sp>
        <p:nvSpPr>
          <p:cNvPr id="232" name="Google Shape;232;p30"/>
          <p:cNvSpPr txBox="1">
            <a:spLocks noGrp="1"/>
          </p:cNvSpPr>
          <p:nvPr>
            <p:ph type="body" idx="4"/>
          </p:nvPr>
        </p:nvSpPr>
        <p:spPr>
          <a:xfrm>
            <a:off x="3906629" y="5649913"/>
            <a:ext cx="5472000" cy="382587"/>
          </a:xfrm>
          <a:prstGeom prst="rect">
            <a:avLst/>
          </a:prstGeom>
          <a:noFill/>
          <a:ln>
            <a:noFill/>
          </a:ln>
        </p:spPr>
        <p:txBody>
          <a:bodyPr spcFirstLastPara="1" wrap="square" lIns="91425" tIns="45700" rIns="91425" bIns="45700" anchor="t" anchorCtr="0">
            <a:noAutofit/>
          </a:bodyPr>
          <a:lstStyle/>
          <a:p>
            <a:pPr marL="0" lvl="0" indent="0" algn="r" rtl="0">
              <a:lnSpc>
                <a:spcPct val="90000"/>
              </a:lnSpc>
              <a:spcBef>
                <a:spcPts val="0"/>
              </a:spcBef>
              <a:spcAft>
                <a:spcPts val="0"/>
              </a:spcAft>
              <a:buClr>
                <a:srgbClr val="555555"/>
              </a:buClr>
              <a:buSzPts val="1600"/>
              <a:buNone/>
            </a:pPr>
            <a:r>
              <a:rPr lang="pt-BR" dirty="0">
                <a:solidFill>
                  <a:srgbClr val="193278"/>
                </a:solidFill>
              </a:rPr>
              <a:t>August 4th, 2022</a:t>
            </a:r>
            <a:endParaRPr dirty="0">
              <a:solidFill>
                <a:srgbClr val="193278"/>
              </a:solidFill>
            </a:endParaRPr>
          </a:p>
        </p:txBody>
      </p:sp>
    </p:spTree>
    <p:extLst>
      <p:ext uri="{BB962C8B-B14F-4D97-AF65-F5344CB8AC3E}">
        <p14:creationId xmlns:p14="http://schemas.microsoft.com/office/powerpoint/2010/main" val="19829297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27143"/>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sp>
        <p:nvSpPr>
          <p:cNvPr id="21" name="Retângulo 20">
            <a:extLst>
              <a:ext uri="{FF2B5EF4-FFF2-40B4-BE49-F238E27FC236}">
                <a16:creationId xmlns:a16="http://schemas.microsoft.com/office/drawing/2014/main" id="{7152DCCC-F077-F3DB-6A55-F2BDF13AE047}"/>
              </a:ext>
            </a:extLst>
          </p:cNvPr>
          <p:cNvSpPr/>
          <p:nvPr/>
        </p:nvSpPr>
        <p:spPr>
          <a:xfrm>
            <a:off x="4126187" y="792000"/>
            <a:ext cx="5251961"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30" name="Imagem 29">
            <a:extLst>
              <a:ext uri="{FF2B5EF4-FFF2-40B4-BE49-F238E27FC236}">
                <a16:creationId xmlns:a16="http://schemas.microsoft.com/office/drawing/2014/main" id="{9AAAC555-0BE5-CDCF-2C8F-E7C228D817B4}"/>
              </a:ext>
            </a:extLst>
          </p:cNvPr>
          <p:cNvPicPr>
            <a:picLocks noChangeAspect="1"/>
          </p:cNvPicPr>
          <p:nvPr/>
        </p:nvPicPr>
        <p:blipFill rotWithShape="1">
          <a:blip r:embed="rId11">
            <a:clrChange>
              <a:clrFrom>
                <a:srgbClr val="FFFFFF"/>
              </a:clrFrom>
              <a:clrTo>
                <a:srgbClr val="FFFFFF">
                  <a:alpha val="0"/>
                </a:srgbClr>
              </a:clrTo>
            </a:clrChange>
          </a:blip>
          <a:srcRect l="4977" t="1646" r="4733" b="1905"/>
          <a:stretch/>
        </p:blipFill>
        <p:spPr>
          <a:xfrm>
            <a:off x="4276159" y="922466"/>
            <a:ext cx="4926220" cy="497033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sp>
        <p:nvSpPr>
          <p:cNvPr id="43" name="Retângulo 42">
            <a:extLst>
              <a:ext uri="{FF2B5EF4-FFF2-40B4-BE49-F238E27FC236}">
                <a16:creationId xmlns:a16="http://schemas.microsoft.com/office/drawing/2014/main" id="{AECEBFE8-6058-4FC2-F910-D9501F6B7976}"/>
              </a:ext>
            </a:extLst>
          </p:cNvPr>
          <p:cNvSpPr/>
          <p:nvPr/>
        </p:nvSpPr>
        <p:spPr>
          <a:xfrm>
            <a:off x="348423" y="769494"/>
            <a:ext cx="3777764" cy="2636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5" name="Retângulo 44">
            <a:extLst>
              <a:ext uri="{FF2B5EF4-FFF2-40B4-BE49-F238E27FC236}">
                <a16:creationId xmlns:a16="http://schemas.microsoft.com/office/drawing/2014/main" id="{DB3C753A-A820-DACD-1421-DF64DA4C9AB9}"/>
              </a:ext>
            </a:extLst>
          </p:cNvPr>
          <p:cNvSpPr/>
          <p:nvPr/>
        </p:nvSpPr>
        <p:spPr>
          <a:xfrm>
            <a:off x="348423" y="3406493"/>
            <a:ext cx="3777764" cy="2659027"/>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31207600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2" name="Retângulo 11">
            <a:extLst>
              <a:ext uri="{FF2B5EF4-FFF2-40B4-BE49-F238E27FC236}">
                <a16:creationId xmlns:a16="http://schemas.microsoft.com/office/drawing/2014/main" id="{E1D250CF-D224-21EE-3887-756F31127729}"/>
              </a:ext>
            </a:extLst>
          </p:cNvPr>
          <p:cNvSpPr/>
          <p:nvPr/>
        </p:nvSpPr>
        <p:spPr>
          <a:xfrm>
            <a:off x="5006338" y="792000"/>
            <a:ext cx="4371810" cy="5226664"/>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792000"/>
            <a:ext cx="4371810"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ental Workload and Situation Awareness</a:t>
            </a:r>
          </a:p>
        </p:txBody>
      </p:sp>
      <p:sp>
        <p:nvSpPr>
          <p:cNvPr id="7" name="Google Shape;237;p31">
            <a:extLst>
              <a:ext uri="{FF2B5EF4-FFF2-40B4-BE49-F238E27FC236}">
                <a16:creationId xmlns:a16="http://schemas.microsoft.com/office/drawing/2014/main" id="{F4F76593-03F1-5F8C-3147-7EDC7FDA7EAD}"/>
              </a:ext>
            </a:extLst>
          </p:cNvPr>
          <p:cNvSpPr txBox="1">
            <a:spLocks noGrp="1"/>
          </p:cNvSpPr>
          <p:nvPr>
            <p:ph type="body" idx="1"/>
          </p:nvPr>
        </p:nvSpPr>
        <p:spPr>
          <a:xfrm>
            <a:off x="334949" y="791520"/>
            <a:ext cx="4021222"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Mental Workload</a:t>
            </a:r>
          </a:p>
        </p:txBody>
      </p:sp>
      <p:sp>
        <p:nvSpPr>
          <p:cNvPr id="8" name="Google Shape;237;p31">
            <a:extLst>
              <a:ext uri="{FF2B5EF4-FFF2-40B4-BE49-F238E27FC236}">
                <a16:creationId xmlns:a16="http://schemas.microsoft.com/office/drawing/2014/main" id="{3322B5BB-CABB-789D-DC18-21D0ACF7D1F3}"/>
              </a:ext>
            </a:extLst>
          </p:cNvPr>
          <p:cNvSpPr txBox="1">
            <a:spLocks/>
          </p:cNvSpPr>
          <p:nvPr/>
        </p:nvSpPr>
        <p:spPr>
          <a:xfrm>
            <a:off x="5019811" y="792001"/>
            <a:ext cx="3981950" cy="4491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Situation Awareness</a:t>
            </a:r>
          </a:p>
          <a:p>
            <a:pPr marL="0" indent="0">
              <a:spcBef>
                <a:spcPts val="0"/>
              </a:spcBef>
              <a:buNone/>
            </a:pPr>
            <a:endParaRPr lang="en-US" dirty="0"/>
          </a:p>
        </p:txBody>
      </p:sp>
      <p:pic>
        <p:nvPicPr>
          <p:cNvPr id="4" name="Imagem 3">
            <a:extLst>
              <a:ext uri="{FF2B5EF4-FFF2-40B4-BE49-F238E27FC236}">
                <a16:creationId xmlns:a16="http://schemas.microsoft.com/office/drawing/2014/main" id="{8C25D814-1CE3-A6AF-2CFD-A008C78A0B0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33290" y="1315473"/>
            <a:ext cx="4175127" cy="4394446"/>
          </a:xfrm>
          <a:prstGeom prst="rect">
            <a:avLst/>
          </a:prstGeom>
        </p:spPr>
      </p:pic>
      <p:pic>
        <p:nvPicPr>
          <p:cNvPr id="13" name="Imagem 12">
            <a:extLst>
              <a:ext uri="{FF2B5EF4-FFF2-40B4-BE49-F238E27FC236}">
                <a16:creationId xmlns:a16="http://schemas.microsoft.com/office/drawing/2014/main" id="{8661FAC2-F603-CA20-50F5-DC9A9DE0A9E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087286" y="3512696"/>
            <a:ext cx="4223385" cy="2024206"/>
          </a:xfrm>
          <a:prstGeom prst="rect">
            <a:avLst/>
          </a:prstGeom>
        </p:spPr>
      </p:pic>
      <p:pic>
        <p:nvPicPr>
          <p:cNvPr id="15" name="Imagem 14">
            <a:extLst>
              <a:ext uri="{FF2B5EF4-FFF2-40B4-BE49-F238E27FC236}">
                <a16:creationId xmlns:a16="http://schemas.microsoft.com/office/drawing/2014/main" id="{68040E60-0C5C-3580-324C-0A91C30B11A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421" r="8421" b="15013"/>
          <a:stretch/>
        </p:blipFill>
        <p:spPr>
          <a:xfrm>
            <a:off x="6451649" y="1574799"/>
            <a:ext cx="1635732" cy="1671720"/>
          </a:xfrm>
          <a:prstGeom prst="rect">
            <a:avLst/>
          </a:prstGeom>
        </p:spPr>
      </p:pic>
      <p:sp>
        <p:nvSpPr>
          <p:cNvPr id="11" name="Retângulo 10">
            <a:extLst>
              <a:ext uri="{FF2B5EF4-FFF2-40B4-BE49-F238E27FC236}">
                <a16:creationId xmlns:a16="http://schemas.microsoft.com/office/drawing/2014/main" id="{0ED53CE4-4F56-3A7F-D152-ECBD9BCA93B8}"/>
              </a:ext>
            </a:extLst>
          </p:cNvPr>
          <p:cNvSpPr/>
          <p:nvPr/>
        </p:nvSpPr>
        <p:spPr>
          <a:xfrm>
            <a:off x="4992867" y="792001"/>
            <a:ext cx="4398754"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539158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2" name="Retângulo 11">
            <a:extLst>
              <a:ext uri="{FF2B5EF4-FFF2-40B4-BE49-F238E27FC236}">
                <a16:creationId xmlns:a16="http://schemas.microsoft.com/office/drawing/2014/main" id="{E1D250CF-D224-21EE-3887-756F31127729}"/>
              </a:ext>
            </a:extLst>
          </p:cNvPr>
          <p:cNvSpPr/>
          <p:nvPr/>
        </p:nvSpPr>
        <p:spPr>
          <a:xfrm>
            <a:off x="5006338" y="792000"/>
            <a:ext cx="4371810"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792000"/>
            <a:ext cx="4371810" cy="5226664"/>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ental Workload and Situation Awareness</a:t>
            </a:r>
          </a:p>
        </p:txBody>
      </p:sp>
      <p:sp>
        <p:nvSpPr>
          <p:cNvPr id="7" name="Google Shape;237;p31">
            <a:extLst>
              <a:ext uri="{FF2B5EF4-FFF2-40B4-BE49-F238E27FC236}">
                <a16:creationId xmlns:a16="http://schemas.microsoft.com/office/drawing/2014/main" id="{F4F76593-03F1-5F8C-3147-7EDC7FDA7EAD}"/>
              </a:ext>
            </a:extLst>
          </p:cNvPr>
          <p:cNvSpPr txBox="1">
            <a:spLocks noGrp="1"/>
          </p:cNvSpPr>
          <p:nvPr>
            <p:ph type="body" idx="1"/>
          </p:nvPr>
        </p:nvSpPr>
        <p:spPr>
          <a:xfrm>
            <a:off x="334949" y="791520"/>
            <a:ext cx="4021222" cy="5227144"/>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a:t>Mental Workload</a:t>
            </a:r>
            <a:endParaRPr lang="en-US" dirty="0"/>
          </a:p>
        </p:txBody>
      </p:sp>
      <p:sp>
        <p:nvSpPr>
          <p:cNvPr id="8" name="Google Shape;237;p31">
            <a:extLst>
              <a:ext uri="{FF2B5EF4-FFF2-40B4-BE49-F238E27FC236}">
                <a16:creationId xmlns:a16="http://schemas.microsoft.com/office/drawing/2014/main" id="{3322B5BB-CABB-789D-DC18-21D0ACF7D1F3}"/>
              </a:ext>
            </a:extLst>
          </p:cNvPr>
          <p:cNvSpPr txBox="1">
            <a:spLocks/>
          </p:cNvSpPr>
          <p:nvPr/>
        </p:nvSpPr>
        <p:spPr>
          <a:xfrm>
            <a:off x="5019811" y="792001"/>
            <a:ext cx="3981950" cy="4491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Situation Awareness</a:t>
            </a:r>
          </a:p>
          <a:p>
            <a:pPr marL="0" indent="0">
              <a:spcBef>
                <a:spcPts val="0"/>
              </a:spcBef>
              <a:buNone/>
            </a:pPr>
            <a:endParaRPr lang="en-US" dirty="0"/>
          </a:p>
        </p:txBody>
      </p:sp>
      <p:pic>
        <p:nvPicPr>
          <p:cNvPr id="4" name="Imagem 3">
            <a:extLst>
              <a:ext uri="{FF2B5EF4-FFF2-40B4-BE49-F238E27FC236}">
                <a16:creationId xmlns:a16="http://schemas.microsoft.com/office/drawing/2014/main" id="{8C25D814-1CE3-A6AF-2CFD-A008C78A0B0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33290" y="1315473"/>
            <a:ext cx="4175127" cy="4394446"/>
          </a:xfrm>
          <a:prstGeom prst="rect">
            <a:avLst/>
          </a:prstGeom>
        </p:spPr>
      </p:pic>
      <p:pic>
        <p:nvPicPr>
          <p:cNvPr id="13" name="Imagem 12">
            <a:extLst>
              <a:ext uri="{FF2B5EF4-FFF2-40B4-BE49-F238E27FC236}">
                <a16:creationId xmlns:a16="http://schemas.microsoft.com/office/drawing/2014/main" id="{8661FAC2-F603-CA20-50F5-DC9A9DE0A9E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087286" y="3512696"/>
            <a:ext cx="4223385" cy="2024206"/>
          </a:xfrm>
          <a:prstGeom prst="rect">
            <a:avLst/>
          </a:prstGeom>
        </p:spPr>
      </p:pic>
      <p:pic>
        <p:nvPicPr>
          <p:cNvPr id="15" name="Imagem 14">
            <a:extLst>
              <a:ext uri="{FF2B5EF4-FFF2-40B4-BE49-F238E27FC236}">
                <a16:creationId xmlns:a16="http://schemas.microsoft.com/office/drawing/2014/main" id="{68040E60-0C5C-3580-324C-0A91C30B11A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421" r="8421" b="15013"/>
          <a:stretch/>
        </p:blipFill>
        <p:spPr>
          <a:xfrm>
            <a:off x="6451649" y="1574799"/>
            <a:ext cx="1635732" cy="1671720"/>
          </a:xfrm>
          <a:prstGeom prst="rect">
            <a:avLst/>
          </a:prstGeom>
        </p:spPr>
      </p:pic>
      <p:sp>
        <p:nvSpPr>
          <p:cNvPr id="16" name="Retângulo 15">
            <a:extLst>
              <a:ext uri="{FF2B5EF4-FFF2-40B4-BE49-F238E27FC236}">
                <a16:creationId xmlns:a16="http://schemas.microsoft.com/office/drawing/2014/main" id="{BE6B4BD2-2659-612D-7DC6-1669FAA522DB}"/>
              </a:ext>
            </a:extLst>
          </p:cNvPr>
          <p:cNvSpPr/>
          <p:nvPr/>
        </p:nvSpPr>
        <p:spPr>
          <a:xfrm>
            <a:off x="334949" y="792000"/>
            <a:ext cx="4371810"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5647462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7" name="Retângulo 6">
            <a:extLst>
              <a:ext uri="{FF2B5EF4-FFF2-40B4-BE49-F238E27FC236}">
                <a16:creationId xmlns:a16="http://schemas.microsoft.com/office/drawing/2014/main" id="{7759CE29-E1E7-1990-AE92-3BBBC11FDAB3}"/>
              </a:ext>
            </a:extLst>
          </p:cNvPr>
          <p:cNvSpPr/>
          <p:nvPr/>
        </p:nvSpPr>
        <p:spPr>
          <a:xfrm>
            <a:off x="348421" y="792000"/>
            <a:ext cx="9029726"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7009443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15" name="Retângulo 14">
            <a:extLst>
              <a:ext uri="{FF2B5EF4-FFF2-40B4-BE49-F238E27FC236}">
                <a16:creationId xmlns:a16="http://schemas.microsoft.com/office/drawing/2014/main" id="{06FD246C-81AD-74A4-055E-3DFADECA770B}"/>
              </a:ext>
            </a:extLst>
          </p:cNvPr>
          <p:cNvSpPr/>
          <p:nvPr/>
        </p:nvSpPr>
        <p:spPr>
          <a:xfrm>
            <a:off x="348422" y="792000"/>
            <a:ext cx="9029726" cy="5273999"/>
          </a:xfrm>
          <a:prstGeom prst="rect">
            <a:avLst/>
          </a:prstGeom>
          <a:solidFill>
            <a:schemeClr val="bg1">
              <a:alpha val="81000"/>
            </a:scheme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54" t="47529" r="73629"/>
          <a:stretch/>
        </p:blipFill>
        <p:spPr>
          <a:xfrm>
            <a:off x="1718060" y="2021839"/>
            <a:ext cx="1655060" cy="1358265"/>
          </a:xfrm>
          <a:prstGeom prst="rect">
            <a:avLst/>
          </a:prstGeom>
          <a:noFill/>
        </p:spPr>
      </p:pic>
      <p:sp>
        <p:nvSpPr>
          <p:cNvPr id="16" name="Retângulo 15">
            <a:extLst>
              <a:ext uri="{FF2B5EF4-FFF2-40B4-BE49-F238E27FC236}">
                <a16:creationId xmlns:a16="http://schemas.microsoft.com/office/drawing/2014/main" id="{999634A0-DC9E-5847-8857-6F2A73698959}"/>
              </a:ext>
            </a:extLst>
          </p:cNvPr>
          <p:cNvSpPr/>
          <p:nvPr/>
        </p:nvSpPr>
        <p:spPr>
          <a:xfrm>
            <a:off x="334949" y="3429000"/>
            <a:ext cx="9016252" cy="2589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3" name="Imagem 2">
            <a:extLst>
              <a:ext uri="{FF2B5EF4-FFF2-40B4-BE49-F238E27FC236}">
                <a16:creationId xmlns:a16="http://schemas.microsoft.com/office/drawing/2014/main" id="{3C55B574-FBF3-43B7-C61C-AFA0F946D612}"/>
              </a:ext>
            </a:extLst>
          </p:cNvPr>
          <p:cNvPicPr>
            <a:picLocks noChangeAspect="1"/>
          </p:cNvPicPr>
          <p:nvPr/>
        </p:nvPicPr>
        <p:blipFill>
          <a:blip r:embed="rId4"/>
          <a:stretch>
            <a:fillRect/>
          </a:stretch>
        </p:blipFill>
        <p:spPr>
          <a:xfrm>
            <a:off x="6120000" y="3789000"/>
            <a:ext cx="1935175" cy="1935175"/>
          </a:xfrm>
          <a:prstGeom prst="rect">
            <a:avLst/>
          </a:prstGeom>
        </p:spPr>
      </p:pic>
      <p:sp>
        <p:nvSpPr>
          <p:cNvPr id="9" name="Google Shape;237;p31">
            <a:extLst>
              <a:ext uri="{FF2B5EF4-FFF2-40B4-BE49-F238E27FC236}">
                <a16:creationId xmlns:a16="http://schemas.microsoft.com/office/drawing/2014/main" id="{AD2609D0-B8AC-EB26-643A-69E5E0D2B83C}"/>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No element produced by a digital system.</a:t>
            </a:r>
          </a:p>
        </p:txBody>
      </p:sp>
    </p:spTree>
    <p:extLst>
      <p:ext uri="{BB962C8B-B14F-4D97-AF65-F5344CB8AC3E}">
        <p14:creationId xmlns:p14="http://schemas.microsoft.com/office/powerpoint/2010/main" val="3281478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12" name="Retângulo 11">
            <a:extLst>
              <a:ext uri="{FF2B5EF4-FFF2-40B4-BE49-F238E27FC236}">
                <a16:creationId xmlns:a16="http://schemas.microsoft.com/office/drawing/2014/main" id="{C04858AE-FAB7-B16B-86FC-14CA0D4E316F}"/>
              </a:ext>
            </a:extLst>
          </p:cNvPr>
          <p:cNvSpPr/>
          <p:nvPr/>
        </p:nvSpPr>
        <p:spPr>
          <a:xfrm>
            <a:off x="308000" y="792000"/>
            <a:ext cx="9070147"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30264" t="47529" r="51568"/>
          <a:stretch/>
        </p:blipFill>
        <p:spPr>
          <a:xfrm>
            <a:off x="3616960" y="2021840"/>
            <a:ext cx="1137920" cy="1358265"/>
          </a:xfrm>
          <a:prstGeom prst="rect">
            <a:avLst/>
          </a:prstGeom>
          <a:noFill/>
        </p:spPr>
      </p:pic>
      <p:sp>
        <p:nvSpPr>
          <p:cNvPr id="13" name="Retângulo 12">
            <a:extLst>
              <a:ext uri="{FF2B5EF4-FFF2-40B4-BE49-F238E27FC236}">
                <a16:creationId xmlns:a16="http://schemas.microsoft.com/office/drawing/2014/main" id="{E95A0B90-E8B2-77F2-DC9E-FC674B291BCE}"/>
              </a:ext>
            </a:extLst>
          </p:cNvPr>
          <p:cNvSpPr/>
          <p:nvPr/>
        </p:nvSpPr>
        <p:spPr>
          <a:xfrm>
            <a:off x="334949" y="3429000"/>
            <a:ext cx="9016252" cy="2589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3" name="Imagem 2">
            <a:extLst>
              <a:ext uri="{FF2B5EF4-FFF2-40B4-BE49-F238E27FC236}">
                <a16:creationId xmlns:a16="http://schemas.microsoft.com/office/drawing/2014/main" id="{CF8DBEE9-4A4A-9718-0B80-907832D1CE7E}"/>
              </a:ext>
            </a:extLst>
          </p:cNvPr>
          <p:cNvPicPr>
            <a:picLocks noChangeAspect="1"/>
          </p:cNvPicPr>
          <p:nvPr/>
        </p:nvPicPr>
        <p:blipFill>
          <a:blip r:embed="rId4"/>
          <a:stretch>
            <a:fillRect/>
          </a:stretch>
        </p:blipFill>
        <p:spPr>
          <a:xfrm>
            <a:off x="6120000" y="3477896"/>
            <a:ext cx="2411085" cy="2413304"/>
          </a:xfrm>
          <a:prstGeom prst="rect">
            <a:avLst/>
          </a:prstGeom>
        </p:spPr>
      </p:pic>
      <p:sp>
        <p:nvSpPr>
          <p:cNvPr id="9" name="Google Shape;237;p31">
            <a:extLst>
              <a:ext uri="{FF2B5EF4-FFF2-40B4-BE49-F238E27FC236}">
                <a16:creationId xmlns:a16="http://schemas.microsoft.com/office/drawing/2014/main" id="{4C9B7DC5-8CCA-5870-8C0B-16C31FB9927E}"/>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Some digital elements laid over the real</a:t>
            </a:r>
            <a:br>
              <a:rPr lang="en-US" dirty="0"/>
            </a:br>
            <a:r>
              <a:rPr lang="en-US" dirty="0"/>
              <a:t>environment.</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elements can not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do not lose the sense of presence.</a:t>
            </a:r>
          </a:p>
        </p:txBody>
      </p:sp>
    </p:spTree>
    <p:extLst>
      <p:ext uri="{BB962C8B-B14F-4D97-AF65-F5344CB8AC3E}">
        <p14:creationId xmlns:p14="http://schemas.microsoft.com/office/powerpoint/2010/main" val="4889426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12" name="Retângulo 11">
            <a:extLst>
              <a:ext uri="{FF2B5EF4-FFF2-40B4-BE49-F238E27FC236}">
                <a16:creationId xmlns:a16="http://schemas.microsoft.com/office/drawing/2014/main" id="{EF429A38-A3D0-D438-EA9C-1C8BC0F5C226}"/>
              </a:ext>
            </a:extLst>
          </p:cNvPr>
          <p:cNvSpPr/>
          <p:nvPr/>
        </p:nvSpPr>
        <p:spPr>
          <a:xfrm>
            <a:off x="348421" y="792000"/>
            <a:ext cx="9029726"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3" name="Retângulo 12">
            <a:extLst>
              <a:ext uri="{FF2B5EF4-FFF2-40B4-BE49-F238E27FC236}">
                <a16:creationId xmlns:a16="http://schemas.microsoft.com/office/drawing/2014/main" id="{6B89D588-C451-E2E7-7F95-8AB7CB161235}"/>
              </a:ext>
            </a:extLst>
          </p:cNvPr>
          <p:cNvSpPr/>
          <p:nvPr/>
        </p:nvSpPr>
        <p:spPr>
          <a:xfrm>
            <a:off x="334949" y="3429000"/>
            <a:ext cx="9016252" cy="2589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52163" t="47529" r="29669"/>
          <a:stretch/>
        </p:blipFill>
        <p:spPr>
          <a:xfrm>
            <a:off x="4988560" y="2021840"/>
            <a:ext cx="1137920" cy="1358265"/>
          </a:xfrm>
          <a:prstGeom prst="rect">
            <a:avLst/>
          </a:prstGeom>
          <a:noFill/>
        </p:spPr>
      </p:pic>
      <p:sp>
        <p:nvSpPr>
          <p:cNvPr id="10" name="Google Shape;237;p31">
            <a:extLst>
              <a:ext uri="{FF2B5EF4-FFF2-40B4-BE49-F238E27FC236}">
                <a16:creationId xmlns:a16="http://schemas.microsoft.com/office/drawing/2014/main" id="{A9A47145-6536-0164-BA4A-9E4C27E5E1A0}"/>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Background environment made with digital</a:t>
            </a:r>
            <a:br>
              <a:rPr lang="en-US" dirty="0"/>
            </a:br>
            <a:r>
              <a:rPr lang="en-US" dirty="0"/>
              <a:t>elements.</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elements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has a feeling of presence inside the </a:t>
            </a:r>
            <a:br>
              <a:rPr lang="en-US" dirty="0"/>
            </a:br>
            <a:r>
              <a:rPr lang="en-US" dirty="0"/>
              <a:t>virtual environment.</a:t>
            </a:r>
          </a:p>
        </p:txBody>
      </p:sp>
      <p:pic>
        <p:nvPicPr>
          <p:cNvPr id="4" name="Gráfico 3">
            <a:extLst>
              <a:ext uri="{FF2B5EF4-FFF2-40B4-BE49-F238E27FC236}">
                <a16:creationId xmlns:a16="http://schemas.microsoft.com/office/drawing/2014/main" id="{CCEE14EF-3147-99F0-4381-E219D57D0A6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1226" y="3614424"/>
            <a:ext cx="3107262" cy="2276776"/>
          </a:xfrm>
          <a:prstGeom prst="rect">
            <a:avLst/>
          </a:prstGeom>
        </p:spPr>
      </p:pic>
    </p:spTree>
    <p:extLst>
      <p:ext uri="{BB962C8B-B14F-4D97-AF65-F5344CB8AC3E}">
        <p14:creationId xmlns:p14="http://schemas.microsoft.com/office/powerpoint/2010/main" val="28420896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4" y="791042"/>
            <a:ext cx="9029726"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17" name="Retângulo 16">
            <a:extLst>
              <a:ext uri="{FF2B5EF4-FFF2-40B4-BE49-F238E27FC236}">
                <a16:creationId xmlns:a16="http://schemas.microsoft.com/office/drawing/2014/main" id="{5EA4A96B-4515-8C9D-2C4D-B9B95A1D0781}"/>
              </a:ext>
            </a:extLst>
          </p:cNvPr>
          <p:cNvSpPr/>
          <p:nvPr/>
        </p:nvSpPr>
        <p:spPr>
          <a:xfrm>
            <a:off x="334948" y="792000"/>
            <a:ext cx="9043200"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8" name="Retângulo 17">
            <a:extLst>
              <a:ext uri="{FF2B5EF4-FFF2-40B4-BE49-F238E27FC236}">
                <a16:creationId xmlns:a16="http://schemas.microsoft.com/office/drawing/2014/main" id="{5FDC83FA-3C63-7E93-0BFF-5DCC4EC90372}"/>
              </a:ext>
            </a:extLst>
          </p:cNvPr>
          <p:cNvSpPr/>
          <p:nvPr/>
        </p:nvSpPr>
        <p:spPr>
          <a:xfrm>
            <a:off x="334949" y="3429000"/>
            <a:ext cx="9016252" cy="2589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40864" t="-17" r="40968" b="47546"/>
          <a:stretch/>
        </p:blipFill>
        <p:spPr>
          <a:xfrm>
            <a:off x="4280852" y="791042"/>
            <a:ext cx="1137920" cy="1358265"/>
          </a:xfrm>
          <a:prstGeom prst="rect">
            <a:avLst/>
          </a:prstGeom>
          <a:noFill/>
        </p:spPr>
      </p:pic>
      <p:sp>
        <p:nvSpPr>
          <p:cNvPr id="9" name="Google Shape;237;p31">
            <a:extLst>
              <a:ext uri="{FF2B5EF4-FFF2-40B4-BE49-F238E27FC236}">
                <a16:creationId xmlns:a16="http://schemas.microsoft.com/office/drawing/2014/main" id="{E96CDD25-C541-9B5E-7EE2-B6405C30385E}"/>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Some digital elements laid over the real</a:t>
            </a:r>
            <a:br>
              <a:rPr lang="en-US" dirty="0"/>
            </a:br>
            <a:r>
              <a:rPr lang="en-US" dirty="0"/>
              <a:t>environment.</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digital elements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do not lose the sense of presence.</a:t>
            </a:r>
          </a:p>
        </p:txBody>
      </p:sp>
      <p:pic>
        <p:nvPicPr>
          <p:cNvPr id="8" name="Gráfico 7">
            <a:extLst>
              <a:ext uri="{FF2B5EF4-FFF2-40B4-BE49-F238E27FC236}">
                <a16:creationId xmlns:a16="http://schemas.microsoft.com/office/drawing/2014/main" id="{F048ED5E-A9F2-2276-E608-65A6A0CF55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95016" y="3517828"/>
            <a:ext cx="2340029" cy="2340029"/>
          </a:xfrm>
          <a:prstGeom prst="rect">
            <a:avLst/>
          </a:prstGeom>
        </p:spPr>
      </p:pic>
    </p:spTree>
    <p:extLst>
      <p:ext uri="{BB962C8B-B14F-4D97-AF65-F5344CB8AC3E}">
        <p14:creationId xmlns:p14="http://schemas.microsoft.com/office/powerpoint/2010/main" val="29632203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12" name="Retângulo 11">
            <a:extLst>
              <a:ext uri="{FF2B5EF4-FFF2-40B4-BE49-F238E27FC236}">
                <a16:creationId xmlns:a16="http://schemas.microsoft.com/office/drawing/2014/main" id="{DF91D5D2-9F23-E53F-A15F-B9C63B4140DC}"/>
              </a:ext>
            </a:extLst>
          </p:cNvPr>
          <p:cNvSpPr/>
          <p:nvPr/>
        </p:nvSpPr>
        <p:spPr>
          <a:xfrm>
            <a:off x="334947" y="791522"/>
            <a:ext cx="9043200"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3" name="Retângulo 12">
            <a:extLst>
              <a:ext uri="{FF2B5EF4-FFF2-40B4-BE49-F238E27FC236}">
                <a16:creationId xmlns:a16="http://schemas.microsoft.com/office/drawing/2014/main" id="{BD9C2015-D41E-45ED-2155-DE64D9700EB0}"/>
              </a:ext>
            </a:extLst>
          </p:cNvPr>
          <p:cNvSpPr/>
          <p:nvPr/>
        </p:nvSpPr>
        <p:spPr>
          <a:xfrm>
            <a:off x="334949" y="3429000"/>
            <a:ext cx="9016252" cy="2589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74118" t="47539" r="-165" b="-10"/>
          <a:stretch/>
        </p:blipFill>
        <p:spPr>
          <a:xfrm>
            <a:off x="6363652" y="2022079"/>
            <a:ext cx="1631386" cy="1358265"/>
          </a:xfrm>
          <a:prstGeom prst="rect">
            <a:avLst/>
          </a:prstGeom>
          <a:noFill/>
        </p:spPr>
      </p:pic>
      <p:pic>
        <p:nvPicPr>
          <p:cNvPr id="3" name="Imagem 2">
            <a:extLst>
              <a:ext uri="{FF2B5EF4-FFF2-40B4-BE49-F238E27FC236}">
                <a16:creationId xmlns:a16="http://schemas.microsoft.com/office/drawing/2014/main" id="{3E8E50F6-FC1F-05CA-86D1-A03B0341E31D}"/>
              </a:ext>
            </a:extLst>
          </p:cNvPr>
          <p:cNvPicPr>
            <a:picLocks noChangeAspect="1"/>
          </p:cNvPicPr>
          <p:nvPr/>
        </p:nvPicPr>
        <p:blipFill>
          <a:blip r:embed="rId4"/>
          <a:stretch>
            <a:fillRect/>
          </a:stretch>
        </p:blipFill>
        <p:spPr>
          <a:xfrm>
            <a:off x="6120000" y="3429000"/>
            <a:ext cx="2285711" cy="2285711"/>
          </a:xfrm>
          <a:prstGeom prst="rect">
            <a:avLst/>
          </a:prstGeom>
        </p:spPr>
      </p:pic>
      <p:sp>
        <p:nvSpPr>
          <p:cNvPr id="9" name="Google Shape;237;p31">
            <a:extLst>
              <a:ext uri="{FF2B5EF4-FFF2-40B4-BE49-F238E27FC236}">
                <a16:creationId xmlns:a16="http://schemas.microsoft.com/office/drawing/2014/main" id="{0DC7AB32-EE36-3F9D-A99C-D38347F25B86}"/>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All elements are digital and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has a feeling of presence inside the </a:t>
            </a:r>
            <a:br>
              <a:rPr lang="en-US" dirty="0"/>
            </a:br>
            <a:r>
              <a:rPr lang="en-US" dirty="0"/>
              <a:t>virtual environment.</a:t>
            </a:r>
          </a:p>
        </p:txBody>
      </p:sp>
    </p:spTree>
    <p:extLst>
      <p:ext uri="{BB962C8B-B14F-4D97-AF65-F5344CB8AC3E}">
        <p14:creationId xmlns:p14="http://schemas.microsoft.com/office/powerpoint/2010/main" val="13993770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Co-Design</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8720339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7BCAEEB5-8DB3-1790-C643-4E29A686BDB5}"/>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36EC6AF3-DD01-749C-E1AD-1BD8E312C8DF}"/>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3E6EE62B-364B-AEFC-052D-686C1EE51804}"/>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CE27DAC8-4BAC-C71E-D530-AE3BA05F7484}"/>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A0DE840C-20F0-B6D1-138E-71A280243095}"/>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78E59EFC-493A-ABC2-ED88-2C8A54579FB2}"/>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3895FA4B-3154-3367-BB05-1517208B730C}"/>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474A01DA-4DE6-9D09-7679-11A5695D1060}"/>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2A1ADDFC-31E4-2119-EA16-8AC63EDA3C81}"/>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AFFC9B31-BEF7-3142-3AC7-A8415FCA4EC3}"/>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93E0BE3C-CB39-5D2E-EE23-8C2221FF11DD}"/>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BAB61560-046F-7A49-D231-B65FAE161A2D}"/>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572C97A1-155C-7C77-324C-68422FD0B45C}"/>
              </a:ext>
            </a:extLst>
          </p:cNvPr>
          <p:cNvSpPr/>
          <p:nvPr>
            <p:custDataLst>
              <p:tags r:id="rId14"/>
            </p:custDataLst>
          </p:nvPr>
        </p:nvSpPr>
        <p:spPr>
          <a:xfrm>
            <a:off x="1287264" y="1617505"/>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72AA94C6-F8D6-C687-BF1B-C049E83EB4DA}"/>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98336E4A-3EB2-102B-D795-DC518AC6B177}"/>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6BEEACF0-290D-3B86-D1F5-E66581255FDE}"/>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42912861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98C981DF-5BB1-56F7-DBB4-7BD6A3D3FCC2}"/>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F30AE0EE-C78E-80B6-66F8-AED296F8BE32}"/>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4AF5F613-3239-48B8-A658-218AE3066BE3}"/>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AC13E1C6-E487-5CF9-11EC-FE85E1C2CE64}"/>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59E80B6F-02D1-FCC9-299F-F0BD43A802B9}"/>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20DECFB0-A2E9-7D2B-DD28-6DA37C861685}"/>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B84E1D99-A77C-DA65-26A7-751A4A4A9BDE}"/>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480E39DC-07FB-0869-7D0F-ED4CDEAC285E}"/>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EE326032-32E8-C461-03CA-ACA6070D3EBA}"/>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394242A0-3266-B36C-A87C-D98AC8B3625C}"/>
              </a:ext>
            </a:extLst>
          </p:cNvPr>
          <p:cNvSpPr/>
          <p:nvPr>
            <p:custDataLst>
              <p:tags r:id="rId11"/>
            </p:custDataLst>
          </p:nvPr>
        </p:nvSpPr>
        <p:spPr>
          <a:xfrm>
            <a:off x="1287264" y="2202137"/>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3F7DEC50-98D0-F8C4-56BE-D3DBA3AC984D}"/>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5F08AC1C-4F5E-546B-79FB-9253310D81E9}"/>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692163C7-A552-8DA7-5B18-4FA93CE9E6D1}"/>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4412FB0E-40AF-06A1-4EAB-C8141C6C35BA}"/>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90F1BAEB-0CB8-F60D-22D9-1B377B66685F}"/>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EA2CD9DB-255B-6DF1-38A3-6130B6841553}"/>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22050468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41" name="Retângulo 40">
            <a:extLst>
              <a:ext uri="{FF2B5EF4-FFF2-40B4-BE49-F238E27FC236}">
                <a16:creationId xmlns:a16="http://schemas.microsoft.com/office/drawing/2014/main" id="{6D54975B-D491-F57E-345D-34470892C871}"/>
              </a:ext>
            </a:extLst>
          </p:cNvPr>
          <p:cNvSpPr/>
          <p:nvPr/>
        </p:nvSpPr>
        <p:spPr>
          <a:xfrm>
            <a:off x="334949" y="792000"/>
            <a:ext cx="2610187" cy="935028"/>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0" name="Retângulo 39">
            <a:extLst>
              <a:ext uri="{FF2B5EF4-FFF2-40B4-BE49-F238E27FC236}">
                <a16:creationId xmlns:a16="http://schemas.microsoft.com/office/drawing/2014/main" id="{F30BC525-D453-DCA5-C62A-E7ED7839675F}"/>
              </a:ext>
            </a:extLst>
          </p:cNvPr>
          <p:cNvSpPr/>
          <p:nvPr/>
        </p:nvSpPr>
        <p:spPr>
          <a:xfrm>
            <a:off x="3558374" y="792000"/>
            <a:ext cx="2610187" cy="935028"/>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2" name="Retângulo 11">
            <a:extLst>
              <a:ext uri="{FF2B5EF4-FFF2-40B4-BE49-F238E27FC236}">
                <a16:creationId xmlns:a16="http://schemas.microsoft.com/office/drawing/2014/main" id="{E1D250CF-D224-21EE-3887-756F31127729}"/>
              </a:ext>
            </a:extLst>
          </p:cNvPr>
          <p:cNvSpPr/>
          <p:nvPr/>
        </p:nvSpPr>
        <p:spPr>
          <a:xfrm>
            <a:off x="5006338" y="2321092"/>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2321092"/>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Objectives</a:t>
            </a:r>
          </a:p>
        </p:txBody>
      </p:sp>
      <p:sp>
        <p:nvSpPr>
          <p:cNvPr id="11" name="Google Shape;237;p31">
            <a:extLst>
              <a:ext uri="{FF2B5EF4-FFF2-40B4-BE49-F238E27FC236}">
                <a16:creationId xmlns:a16="http://schemas.microsoft.com/office/drawing/2014/main" id="{7DFFF9CB-32AC-36D9-80AF-DDBE7DC8659E}"/>
              </a:ext>
            </a:extLst>
          </p:cNvPr>
          <p:cNvSpPr txBox="1">
            <a:spLocks/>
          </p:cNvSpPr>
          <p:nvPr/>
        </p:nvSpPr>
        <p:spPr>
          <a:xfrm>
            <a:off x="334949" y="2344877"/>
            <a:ext cx="4069903" cy="124059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Compare:</a:t>
            </a:r>
          </a:p>
          <a:p>
            <a:pPr marL="812800" lvl="1">
              <a:spcBef>
                <a:spcPts val="0"/>
              </a:spcBef>
              <a:buSzPts val="2640"/>
              <a:buFont typeface="Noto Sans Symbols"/>
              <a:buChar char="▪"/>
            </a:pPr>
            <a:r>
              <a:rPr lang="en-US" sz="1800" dirty="0"/>
              <a:t>Assistive devices;</a:t>
            </a:r>
          </a:p>
          <a:p>
            <a:pPr marL="812800" lvl="1">
              <a:spcBef>
                <a:spcPts val="0"/>
              </a:spcBef>
              <a:buSzPts val="2640"/>
              <a:buFont typeface="Noto Sans Symbols"/>
              <a:buChar char="▪"/>
            </a:pPr>
            <a:r>
              <a:rPr lang="en-US" sz="1800" dirty="0"/>
              <a:t>Human factors;</a:t>
            </a:r>
          </a:p>
          <a:p>
            <a:pPr marL="812800" lvl="1">
              <a:spcBef>
                <a:spcPts val="0"/>
              </a:spcBef>
              <a:buSzPts val="2640"/>
              <a:buFont typeface="Noto Sans Symbols"/>
              <a:buChar char="▪"/>
            </a:pPr>
            <a:r>
              <a:rPr lang="en-US" sz="1800" dirty="0"/>
              <a:t>Virtual environment.</a:t>
            </a:r>
          </a:p>
          <a:p>
            <a:pPr marL="355600">
              <a:spcBef>
                <a:spcPts val="0"/>
              </a:spcBef>
            </a:pPr>
            <a:r>
              <a:rPr lang="en-US" sz="1800" dirty="0"/>
              <a:t>Main Limitations</a:t>
            </a:r>
          </a:p>
          <a:p>
            <a:pPr marL="0" indent="0">
              <a:spcBef>
                <a:spcPts val="0"/>
              </a:spcBef>
              <a:buNone/>
            </a:pPr>
            <a:endParaRPr lang="en-US" sz="2000" dirty="0"/>
          </a:p>
        </p:txBody>
      </p:sp>
      <p:sp>
        <p:nvSpPr>
          <p:cNvPr id="13" name="Google Shape;237;p31">
            <a:extLst>
              <a:ext uri="{FF2B5EF4-FFF2-40B4-BE49-F238E27FC236}">
                <a16:creationId xmlns:a16="http://schemas.microsoft.com/office/drawing/2014/main" id="{AB5E4888-D89D-1ECF-09AA-037124D02D03}"/>
              </a:ext>
            </a:extLst>
          </p:cNvPr>
          <p:cNvSpPr txBox="1">
            <a:spLocks/>
          </p:cNvSpPr>
          <p:nvPr/>
        </p:nvSpPr>
        <p:spPr>
          <a:xfrm>
            <a:off x="4992866" y="2344877"/>
            <a:ext cx="4210128" cy="15210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812800" lvl="1" indent="-355600">
              <a:spcBef>
                <a:spcPts val="0"/>
              </a:spcBef>
              <a:buSzPts val="2640"/>
              <a:buFont typeface="Noto Sans Symbols"/>
              <a:buChar char="▪"/>
            </a:pPr>
            <a:r>
              <a:rPr lang="en-US" sz="1800" dirty="0"/>
              <a:t>non-BVI users:</a:t>
            </a:r>
          </a:p>
          <a:p>
            <a:pPr marL="1270000" lvl="2">
              <a:spcBef>
                <a:spcPts val="0"/>
              </a:spcBef>
              <a:buSzPts val="2640"/>
              <a:buFont typeface="Noto Sans Symbols"/>
              <a:buChar char="▪"/>
            </a:pPr>
            <a:r>
              <a:rPr lang="en-US" sz="1800" dirty="0"/>
              <a:t>Deprived of their vision;</a:t>
            </a:r>
          </a:p>
          <a:p>
            <a:pPr marL="1270000" lvl="2">
              <a:spcBef>
                <a:spcPts val="0"/>
              </a:spcBef>
              <a:buSzPts val="2640"/>
              <a:buFont typeface="Noto Sans Symbols"/>
              <a:buChar char="▪"/>
            </a:pPr>
            <a:r>
              <a:rPr lang="en-US" sz="1800" dirty="0"/>
              <a:t>Similarly assistive devices as BVI users.</a:t>
            </a:r>
          </a:p>
        </p:txBody>
      </p:sp>
      <p:sp>
        <p:nvSpPr>
          <p:cNvPr id="16" name="Retângulo 15">
            <a:extLst>
              <a:ext uri="{FF2B5EF4-FFF2-40B4-BE49-F238E27FC236}">
                <a16:creationId xmlns:a16="http://schemas.microsoft.com/office/drawing/2014/main" id="{D5C2E905-237D-E3FB-B920-D9240DB2DBBC}"/>
              </a:ext>
            </a:extLst>
          </p:cNvPr>
          <p:cNvSpPr/>
          <p:nvPr/>
        </p:nvSpPr>
        <p:spPr>
          <a:xfrm>
            <a:off x="334948" y="4477434"/>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
        <p:nvSpPr>
          <p:cNvPr id="18" name="Retângulo 17">
            <a:extLst>
              <a:ext uri="{FF2B5EF4-FFF2-40B4-BE49-F238E27FC236}">
                <a16:creationId xmlns:a16="http://schemas.microsoft.com/office/drawing/2014/main" id="{9888B9BD-DF72-51E2-0DAB-AD08515EA889}"/>
              </a:ext>
            </a:extLst>
          </p:cNvPr>
          <p:cNvSpPr/>
          <p:nvPr/>
        </p:nvSpPr>
        <p:spPr>
          <a:xfrm>
            <a:off x="2666648" y="4477434"/>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9" name="Retângulo 18">
            <a:extLst>
              <a:ext uri="{FF2B5EF4-FFF2-40B4-BE49-F238E27FC236}">
                <a16:creationId xmlns:a16="http://schemas.microsoft.com/office/drawing/2014/main" id="{6A0C5617-07C7-9A5C-BAC6-4ED101256CE8}"/>
              </a:ext>
            </a:extLst>
          </p:cNvPr>
          <p:cNvSpPr/>
          <p:nvPr/>
        </p:nvSpPr>
        <p:spPr>
          <a:xfrm>
            <a:off x="4998348" y="4477434"/>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0" name="Retângulo 19">
            <a:extLst>
              <a:ext uri="{FF2B5EF4-FFF2-40B4-BE49-F238E27FC236}">
                <a16:creationId xmlns:a16="http://schemas.microsoft.com/office/drawing/2014/main" id="{EA81080B-633F-7EB8-62E6-20E4A870F17F}"/>
              </a:ext>
            </a:extLst>
          </p:cNvPr>
          <p:cNvSpPr/>
          <p:nvPr/>
        </p:nvSpPr>
        <p:spPr>
          <a:xfrm>
            <a:off x="7330049" y="4477435"/>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
        <p:nvSpPr>
          <p:cNvPr id="21" name="Google Shape;237;p31">
            <a:extLst>
              <a:ext uri="{FF2B5EF4-FFF2-40B4-BE49-F238E27FC236}">
                <a16:creationId xmlns:a16="http://schemas.microsoft.com/office/drawing/2014/main" id="{FF77EA97-6BF8-BEBC-73E9-D0FF3BB17075}"/>
              </a:ext>
            </a:extLst>
          </p:cNvPr>
          <p:cNvSpPr txBox="1">
            <a:spLocks/>
          </p:cNvSpPr>
          <p:nvPr/>
        </p:nvSpPr>
        <p:spPr>
          <a:xfrm>
            <a:off x="334948" y="4142681"/>
            <a:ext cx="2074933" cy="334753"/>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chemeClr val="bg1"/>
                </a:solidFill>
              </a:rPr>
              <a:t>Specific goal n° 1</a:t>
            </a:r>
            <a:br>
              <a:rPr lang="en-US" sz="1800" dirty="0"/>
            </a:br>
            <a:endParaRPr lang="en-US" sz="1800" dirty="0"/>
          </a:p>
          <a:p>
            <a:pPr marL="355600" indent="-355600">
              <a:spcBef>
                <a:spcPts val="0"/>
              </a:spcBef>
            </a:pPr>
            <a:r>
              <a:rPr lang="en-US" sz="1800" dirty="0"/>
              <a:t>Select a scenario and develop its virtual environment</a:t>
            </a:r>
            <a:endParaRPr lang="en-US" sz="2000" dirty="0"/>
          </a:p>
        </p:txBody>
      </p:sp>
      <p:sp>
        <p:nvSpPr>
          <p:cNvPr id="22" name="Google Shape;237;p31">
            <a:extLst>
              <a:ext uri="{FF2B5EF4-FFF2-40B4-BE49-F238E27FC236}">
                <a16:creationId xmlns:a16="http://schemas.microsoft.com/office/drawing/2014/main" id="{CE23F51B-9FAF-0F69-DBEF-C3832C3FAF36}"/>
              </a:ext>
            </a:extLst>
          </p:cNvPr>
          <p:cNvSpPr txBox="1">
            <a:spLocks/>
          </p:cNvSpPr>
          <p:nvPr/>
        </p:nvSpPr>
        <p:spPr>
          <a:xfrm>
            <a:off x="2666648" y="4142681"/>
            <a:ext cx="2074933" cy="334753"/>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chemeClr val="bg1"/>
                </a:solidFill>
              </a:rPr>
              <a:t>Specific goal n° 2</a:t>
            </a:r>
            <a:br>
              <a:rPr lang="en-US" sz="1800" dirty="0"/>
            </a:br>
            <a:endParaRPr lang="en-US" sz="1800" dirty="0"/>
          </a:p>
          <a:p>
            <a:pPr marL="355600" indent="-355600">
              <a:spcBef>
                <a:spcPts val="0"/>
              </a:spcBef>
            </a:pPr>
            <a:r>
              <a:rPr lang="en-US" sz="1800" dirty="0"/>
              <a:t>Develop three conceptual assistive devices</a:t>
            </a:r>
            <a:endParaRPr lang="en-US" sz="2000" dirty="0"/>
          </a:p>
        </p:txBody>
      </p:sp>
      <p:sp>
        <p:nvSpPr>
          <p:cNvPr id="23" name="Google Shape;237;p31">
            <a:extLst>
              <a:ext uri="{FF2B5EF4-FFF2-40B4-BE49-F238E27FC236}">
                <a16:creationId xmlns:a16="http://schemas.microsoft.com/office/drawing/2014/main" id="{415D743D-A21C-46DC-3780-E47C74BC2A7C}"/>
              </a:ext>
            </a:extLst>
          </p:cNvPr>
          <p:cNvSpPr txBox="1">
            <a:spLocks/>
          </p:cNvSpPr>
          <p:nvPr/>
        </p:nvSpPr>
        <p:spPr>
          <a:xfrm>
            <a:off x="4998348" y="4142681"/>
            <a:ext cx="2074933" cy="334753"/>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chemeClr val="bg1"/>
                </a:solidFill>
              </a:rPr>
              <a:t>Specific goal n° 3</a:t>
            </a:r>
            <a:br>
              <a:rPr lang="en-US" sz="1800" dirty="0"/>
            </a:br>
            <a:endParaRPr lang="en-US" sz="1800" dirty="0"/>
          </a:p>
          <a:p>
            <a:pPr marL="355600" indent="-355600">
              <a:spcBef>
                <a:spcPts val="0"/>
              </a:spcBef>
            </a:pPr>
            <a:r>
              <a:rPr lang="en-US" sz="1800" dirty="0"/>
              <a:t>Propose a set of evaluation methods</a:t>
            </a:r>
          </a:p>
          <a:p>
            <a:pPr marL="355600" indent="-355600">
              <a:spcBef>
                <a:spcPts val="0"/>
              </a:spcBef>
            </a:pPr>
            <a:endParaRPr lang="en-US" sz="2000" dirty="0"/>
          </a:p>
          <a:p>
            <a:pPr marL="0" indent="0">
              <a:spcBef>
                <a:spcPts val="0"/>
              </a:spcBef>
              <a:buNone/>
            </a:pPr>
            <a:endParaRPr lang="en-US" sz="2000" dirty="0"/>
          </a:p>
        </p:txBody>
      </p:sp>
      <p:sp>
        <p:nvSpPr>
          <p:cNvPr id="24" name="Google Shape;237;p31">
            <a:extLst>
              <a:ext uri="{FF2B5EF4-FFF2-40B4-BE49-F238E27FC236}">
                <a16:creationId xmlns:a16="http://schemas.microsoft.com/office/drawing/2014/main" id="{CFAFDE60-EEAA-EAA7-8A12-E52FEC4F9E40}"/>
              </a:ext>
            </a:extLst>
          </p:cNvPr>
          <p:cNvSpPr txBox="1">
            <a:spLocks/>
          </p:cNvSpPr>
          <p:nvPr/>
        </p:nvSpPr>
        <p:spPr>
          <a:xfrm>
            <a:off x="7330049" y="4142682"/>
            <a:ext cx="2074933" cy="334753"/>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chemeClr val="bg1"/>
                </a:solidFill>
              </a:rPr>
              <a:t>Specific goal n° 4</a:t>
            </a:r>
            <a:br>
              <a:rPr lang="en-US" sz="1800" dirty="0"/>
            </a:br>
            <a:endParaRPr lang="en-US" sz="1800" dirty="0"/>
          </a:p>
          <a:p>
            <a:pPr marL="355600" indent="-355600">
              <a:spcBef>
                <a:spcPts val="0"/>
              </a:spcBef>
            </a:pPr>
            <a:r>
              <a:rPr lang="en-US" sz="1800" dirty="0"/>
              <a:t>Design and execute an experiment</a:t>
            </a:r>
            <a:endParaRPr lang="en-US" sz="2000" dirty="0"/>
          </a:p>
        </p:txBody>
      </p:sp>
      <p:sp>
        <p:nvSpPr>
          <p:cNvPr id="15" name="Retângulo 14">
            <a:extLst>
              <a:ext uri="{FF2B5EF4-FFF2-40B4-BE49-F238E27FC236}">
                <a16:creationId xmlns:a16="http://schemas.microsoft.com/office/drawing/2014/main" id="{D1F8F319-ECB8-A6C6-0609-991DA7D28619}"/>
              </a:ext>
            </a:extLst>
          </p:cNvPr>
          <p:cNvSpPr/>
          <p:nvPr/>
        </p:nvSpPr>
        <p:spPr>
          <a:xfrm>
            <a:off x="6781799" y="792001"/>
            <a:ext cx="2610187" cy="935028"/>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5" name="Google Shape;237;p31">
            <a:extLst>
              <a:ext uri="{FF2B5EF4-FFF2-40B4-BE49-F238E27FC236}">
                <a16:creationId xmlns:a16="http://schemas.microsoft.com/office/drawing/2014/main" id="{9DE04137-4131-49CB-ED49-5786BB17BC10}"/>
              </a:ext>
            </a:extLst>
          </p:cNvPr>
          <p:cNvSpPr txBox="1">
            <a:spLocks/>
          </p:cNvSpPr>
          <p:nvPr/>
        </p:nvSpPr>
        <p:spPr>
          <a:xfrm>
            <a:off x="496631" y="1952891"/>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1</a:t>
            </a:r>
            <a:endParaRPr lang="en-US" sz="2000" dirty="0">
              <a:solidFill>
                <a:srgbClr val="FFFFFF"/>
              </a:solidFill>
            </a:endParaRPr>
          </a:p>
        </p:txBody>
      </p:sp>
      <p:sp>
        <p:nvSpPr>
          <p:cNvPr id="26" name="Google Shape;237;p31">
            <a:extLst>
              <a:ext uri="{FF2B5EF4-FFF2-40B4-BE49-F238E27FC236}">
                <a16:creationId xmlns:a16="http://schemas.microsoft.com/office/drawing/2014/main" id="{FA4DB664-0350-E173-96A1-FF22B7EE9F77}"/>
              </a:ext>
            </a:extLst>
          </p:cNvPr>
          <p:cNvSpPr txBox="1">
            <a:spLocks/>
          </p:cNvSpPr>
          <p:nvPr/>
        </p:nvSpPr>
        <p:spPr>
          <a:xfrm>
            <a:off x="5186876" y="1952891"/>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2</a:t>
            </a:r>
            <a:endParaRPr lang="en-US" sz="2000" dirty="0">
              <a:solidFill>
                <a:srgbClr val="FFFFFF"/>
              </a:solidFill>
            </a:endParaRPr>
          </a:p>
        </p:txBody>
      </p:sp>
      <p:pic>
        <p:nvPicPr>
          <p:cNvPr id="29" name="Imagem 28">
            <a:extLst>
              <a:ext uri="{FF2B5EF4-FFF2-40B4-BE49-F238E27FC236}">
                <a16:creationId xmlns:a16="http://schemas.microsoft.com/office/drawing/2014/main" id="{9810B028-9950-DC8F-4700-E434EA2AF968}"/>
              </a:ext>
            </a:extLst>
          </p:cNvPr>
          <p:cNvPicPr>
            <a:picLocks noChangeAspect="1"/>
          </p:cNvPicPr>
          <p:nvPr/>
        </p:nvPicPr>
        <p:blipFill>
          <a:blip r:embed="rId3"/>
          <a:stretch>
            <a:fillRect/>
          </a:stretch>
        </p:blipFill>
        <p:spPr>
          <a:xfrm>
            <a:off x="1246674" y="914529"/>
            <a:ext cx="679418" cy="679418"/>
          </a:xfrm>
          <a:prstGeom prst="rect">
            <a:avLst/>
          </a:prstGeom>
        </p:spPr>
      </p:pic>
      <p:grpSp>
        <p:nvGrpSpPr>
          <p:cNvPr id="7" name="Agrupar 6">
            <a:extLst>
              <a:ext uri="{FF2B5EF4-FFF2-40B4-BE49-F238E27FC236}">
                <a16:creationId xmlns:a16="http://schemas.microsoft.com/office/drawing/2014/main" id="{F59682C7-FC73-C324-3907-A637014C9BC7}"/>
              </a:ext>
            </a:extLst>
          </p:cNvPr>
          <p:cNvGrpSpPr/>
          <p:nvPr/>
        </p:nvGrpSpPr>
        <p:grpSpPr>
          <a:xfrm>
            <a:off x="3876519" y="919805"/>
            <a:ext cx="1973897" cy="679418"/>
            <a:chOff x="3804557" y="869517"/>
            <a:chExt cx="1973897" cy="679418"/>
          </a:xfrm>
        </p:grpSpPr>
        <p:pic>
          <p:nvPicPr>
            <p:cNvPr id="32" name="Imagem 31">
              <a:extLst>
                <a:ext uri="{FF2B5EF4-FFF2-40B4-BE49-F238E27FC236}">
                  <a16:creationId xmlns:a16="http://schemas.microsoft.com/office/drawing/2014/main" id="{6C0269C2-D716-0970-F5ED-34AB05E4A58E}"/>
                </a:ext>
              </a:extLst>
            </p:cNvPr>
            <p:cNvPicPr>
              <a:picLocks noChangeAspect="1"/>
            </p:cNvPicPr>
            <p:nvPr/>
          </p:nvPicPr>
          <p:blipFill>
            <a:blip r:embed="rId4"/>
            <a:stretch>
              <a:fillRect/>
            </a:stretch>
          </p:blipFill>
          <p:spPr>
            <a:xfrm>
              <a:off x="4480567" y="869517"/>
              <a:ext cx="679418" cy="679418"/>
            </a:xfrm>
            <a:prstGeom prst="rect">
              <a:avLst/>
            </a:prstGeom>
          </p:spPr>
        </p:pic>
        <p:pic>
          <p:nvPicPr>
            <p:cNvPr id="33" name="Imagem 32">
              <a:extLst>
                <a:ext uri="{FF2B5EF4-FFF2-40B4-BE49-F238E27FC236}">
                  <a16:creationId xmlns:a16="http://schemas.microsoft.com/office/drawing/2014/main" id="{E80B29F0-DCF8-633C-FCB8-A7A67ABAF0AB}"/>
                </a:ext>
              </a:extLst>
            </p:cNvPr>
            <p:cNvPicPr>
              <a:picLocks noChangeAspect="1"/>
            </p:cNvPicPr>
            <p:nvPr/>
          </p:nvPicPr>
          <p:blipFill>
            <a:blip r:embed="rId5"/>
            <a:stretch>
              <a:fillRect/>
            </a:stretch>
          </p:blipFill>
          <p:spPr>
            <a:xfrm>
              <a:off x="5099036" y="869517"/>
              <a:ext cx="679418" cy="679418"/>
            </a:xfrm>
            <a:prstGeom prst="rect">
              <a:avLst/>
            </a:prstGeom>
          </p:spPr>
        </p:pic>
        <p:pic>
          <p:nvPicPr>
            <p:cNvPr id="34" name="Imagem 33">
              <a:extLst>
                <a:ext uri="{FF2B5EF4-FFF2-40B4-BE49-F238E27FC236}">
                  <a16:creationId xmlns:a16="http://schemas.microsoft.com/office/drawing/2014/main" id="{6C918A4B-9763-5094-8AFF-81820E32DEC5}"/>
                </a:ext>
              </a:extLst>
            </p:cNvPr>
            <p:cNvPicPr>
              <a:picLocks noChangeAspect="1"/>
            </p:cNvPicPr>
            <p:nvPr/>
          </p:nvPicPr>
          <p:blipFill>
            <a:blip r:embed="rId6"/>
            <a:stretch>
              <a:fillRect/>
            </a:stretch>
          </p:blipFill>
          <p:spPr>
            <a:xfrm>
              <a:off x="3804557" y="869517"/>
              <a:ext cx="679418" cy="679418"/>
            </a:xfrm>
            <a:prstGeom prst="rect">
              <a:avLst/>
            </a:prstGeom>
          </p:spPr>
        </p:pic>
      </p:grpSp>
      <p:grpSp>
        <p:nvGrpSpPr>
          <p:cNvPr id="6" name="Agrupar 5">
            <a:extLst>
              <a:ext uri="{FF2B5EF4-FFF2-40B4-BE49-F238E27FC236}">
                <a16:creationId xmlns:a16="http://schemas.microsoft.com/office/drawing/2014/main" id="{FA16ACD5-2CBC-DC44-777E-0539A9A9B5C8}"/>
              </a:ext>
            </a:extLst>
          </p:cNvPr>
          <p:cNvGrpSpPr/>
          <p:nvPr/>
        </p:nvGrpSpPr>
        <p:grpSpPr>
          <a:xfrm>
            <a:off x="6937618" y="916725"/>
            <a:ext cx="2298549" cy="685580"/>
            <a:chOff x="6908560" y="891802"/>
            <a:chExt cx="2298549" cy="685580"/>
          </a:xfrm>
        </p:grpSpPr>
        <p:pic>
          <p:nvPicPr>
            <p:cNvPr id="37" name="Imagem 36">
              <a:extLst>
                <a:ext uri="{FF2B5EF4-FFF2-40B4-BE49-F238E27FC236}">
                  <a16:creationId xmlns:a16="http://schemas.microsoft.com/office/drawing/2014/main" id="{2FAB4F7E-F17E-321D-CEDA-DC13AB8C303C}"/>
                </a:ext>
              </a:extLst>
            </p:cNvPr>
            <p:cNvPicPr>
              <a:picLocks noChangeAspect="1"/>
            </p:cNvPicPr>
            <p:nvPr/>
          </p:nvPicPr>
          <p:blipFill>
            <a:blip r:embed="rId7"/>
            <a:stretch>
              <a:fillRect/>
            </a:stretch>
          </p:blipFill>
          <p:spPr>
            <a:xfrm>
              <a:off x="7718125" y="897964"/>
              <a:ext cx="679418" cy="679418"/>
            </a:xfrm>
            <a:prstGeom prst="rect">
              <a:avLst/>
            </a:prstGeom>
          </p:spPr>
        </p:pic>
        <p:pic>
          <p:nvPicPr>
            <p:cNvPr id="38" name="Imagem 37">
              <a:extLst>
                <a:ext uri="{FF2B5EF4-FFF2-40B4-BE49-F238E27FC236}">
                  <a16:creationId xmlns:a16="http://schemas.microsoft.com/office/drawing/2014/main" id="{79337422-822B-4092-8EF1-FFDD3FDF930A}"/>
                </a:ext>
              </a:extLst>
            </p:cNvPr>
            <p:cNvPicPr>
              <a:picLocks noChangeAspect="1"/>
            </p:cNvPicPr>
            <p:nvPr/>
          </p:nvPicPr>
          <p:blipFill>
            <a:blip r:embed="rId8"/>
            <a:stretch>
              <a:fillRect/>
            </a:stretch>
          </p:blipFill>
          <p:spPr>
            <a:xfrm>
              <a:off x="6908560" y="897964"/>
              <a:ext cx="679418" cy="679418"/>
            </a:xfrm>
            <a:prstGeom prst="rect">
              <a:avLst/>
            </a:prstGeom>
          </p:spPr>
        </p:pic>
        <p:pic>
          <p:nvPicPr>
            <p:cNvPr id="39" name="Imagem 38">
              <a:extLst>
                <a:ext uri="{FF2B5EF4-FFF2-40B4-BE49-F238E27FC236}">
                  <a16:creationId xmlns:a16="http://schemas.microsoft.com/office/drawing/2014/main" id="{323FBB86-ACB5-598B-A1FA-C43A2CB496A8}"/>
                </a:ext>
              </a:extLst>
            </p:cNvPr>
            <p:cNvPicPr>
              <a:picLocks noChangeAspect="1"/>
            </p:cNvPicPr>
            <p:nvPr/>
          </p:nvPicPr>
          <p:blipFill>
            <a:blip r:embed="rId9"/>
            <a:stretch>
              <a:fillRect/>
            </a:stretch>
          </p:blipFill>
          <p:spPr>
            <a:xfrm>
              <a:off x="8527691" y="891802"/>
              <a:ext cx="679418" cy="679418"/>
            </a:xfrm>
            <a:prstGeom prst="rect">
              <a:avLst/>
            </a:prstGeom>
          </p:spPr>
        </p:pic>
      </p:grpSp>
    </p:spTree>
    <p:extLst>
      <p:ext uri="{BB962C8B-B14F-4D97-AF65-F5344CB8AC3E}">
        <p14:creationId xmlns:p14="http://schemas.microsoft.com/office/powerpoint/2010/main" val="27242074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5" name="Retângulo 24">
            <a:extLst>
              <a:ext uri="{FF2B5EF4-FFF2-40B4-BE49-F238E27FC236}">
                <a16:creationId xmlns:a16="http://schemas.microsoft.com/office/drawing/2014/main" id="{AE473716-58C4-B184-CEDC-1CB4DA32BE78}"/>
              </a:ext>
            </a:extLst>
          </p:cNvPr>
          <p:cNvSpPr/>
          <p:nvPr/>
        </p:nvSpPr>
        <p:spPr>
          <a:xfrm>
            <a:off x="348423" y="2369070"/>
            <a:ext cx="9029726" cy="364959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sp>
        <p:nvSpPr>
          <p:cNvPr id="29" name="Retângulo 28">
            <a:extLst>
              <a:ext uri="{FF2B5EF4-FFF2-40B4-BE49-F238E27FC236}">
                <a16:creationId xmlns:a16="http://schemas.microsoft.com/office/drawing/2014/main" id="{1B48912C-4F60-63AF-2E2A-C63F2D2963FD}"/>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5" name="Imagem 4">
            <a:extLst>
              <a:ext uri="{FF2B5EF4-FFF2-40B4-BE49-F238E27FC236}">
                <a16:creationId xmlns:a16="http://schemas.microsoft.com/office/drawing/2014/main" id="{55295B6A-1F05-8363-63F5-B611EB82178B}"/>
              </a:ext>
            </a:extLst>
          </p:cNvPr>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7974" y="884695"/>
            <a:ext cx="8863678" cy="1391680"/>
          </a:xfrm>
          <a:prstGeom prst="rect">
            <a:avLst/>
          </a:prstGeom>
        </p:spPr>
      </p:pic>
    </p:spTree>
    <p:extLst>
      <p:ext uri="{BB962C8B-B14F-4D97-AF65-F5344CB8AC3E}">
        <p14:creationId xmlns:p14="http://schemas.microsoft.com/office/powerpoint/2010/main" val="25990713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sp>
        <p:nvSpPr>
          <p:cNvPr id="29" name="Retângulo 28">
            <a:extLst>
              <a:ext uri="{FF2B5EF4-FFF2-40B4-BE49-F238E27FC236}">
                <a16:creationId xmlns:a16="http://schemas.microsoft.com/office/drawing/2014/main" id="{1B48912C-4F60-63AF-2E2A-C63F2D2963FD}"/>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5" name="Imagem 4">
            <a:extLst>
              <a:ext uri="{FF2B5EF4-FFF2-40B4-BE49-F238E27FC236}">
                <a16:creationId xmlns:a16="http://schemas.microsoft.com/office/drawing/2014/main" id="{55295B6A-1F05-8363-63F5-B611EB82178B}"/>
              </a:ext>
            </a:extLst>
          </p:cNvPr>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7974" y="884695"/>
            <a:ext cx="8863678" cy="1391680"/>
          </a:xfrm>
          <a:prstGeom prst="rect">
            <a:avLst/>
          </a:prstGeom>
        </p:spPr>
      </p:pic>
      <p:sp>
        <p:nvSpPr>
          <p:cNvPr id="7" name="Retângulo 6">
            <a:extLst>
              <a:ext uri="{FF2B5EF4-FFF2-40B4-BE49-F238E27FC236}">
                <a16:creationId xmlns:a16="http://schemas.microsoft.com/office/drawing/2014/main" id="{5EC9EE5F-9538-9A18-3658-AA16AF8571EC}"/>
              </a:ext>
            </a:extLst>
          </p:cNvPr>
          <p:cNvSpPr/>
          <p:nvPr/>
        </p:nvSpPr>
        <p:spPr>
          <a:xfrm>
            <a:off x="348421" y="792000"/>
            <a:ext cx="9043199" cy="162673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6" name="Imagem 5">
            <a:extLst>
              <a:ext uri="{FF2B5EF4-FFF2-40B4-BE49-F238E27FC236}">
                <a16:creationId xmlns:a16="http://schemas.microsoft.com/office/drawing/2014/main" id="{1C3AA493-F225-108C-9306-0FDE5D422147}"/>
              </a:ext>
            </a:extLst>
          </p:cNvPr>
          <p:cNvPicPr>
            <a:picLocks noChangeAspect="1"/>
          </p:cNvPicPr>
          <p:nvPr/>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rcRect t="24036" r="81199" b="24036"/>
          <a:stretch/>
        </p:blipFill>
        <p:spPr>
          <a:xfrm>
            <a:off x="417974" y="1219200"/>
            <a:ext cx="1666465" cy="722670"/>
          </a:xfrm>
          <a:prstGeom prst="rect">
            <a:avLst/>
          </a:prstGeom>
        </p:spPr>
      </p:pic>
      <p:sp>
        <p:nvSpPr>
          <p:cNvPr id="8" name="Retângulo 7">
            <a:extLst>
              <a:ext uri="{FF2B5EF4-FFF2-40B4-BE49-F238E27FC236}">
                <a16:creationId xmlns:a16="http://schemas.microsoft.com/office/drawing/2014/main" id="{7299B22B-06B1-6152-771F-EDE1B976CC09}"/>
              </a:ext>
            </a:extLst>
          </p:cNvPr>
          <p:cNvSpPr/>
          <p:nvPr/>
        </p:nvSpPr>
        <p:spPr>
          <a:xfrm>
            <a:off x="348423" y="2369070"/>
            <a:ext cx="9029726" cy="364959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41494175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18DC03D5-3EDC-A4AF-7360-5B40A07F16FE}"/>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B7ADE795-9935-AF6F-A624-BD4A7EF5B2DA}"/>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2D2040EF-3726-81C2-188B-F4FBF46DC482}"/>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CF48E7C3-62AF-B29C-7487-6EC7A1128146}"/>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18C3D0C8-05E1-4F01-5E40-20E6D57B48F5}"/>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B8678458-1DE0-E2DF-9B46-28F0ADFFA161}"/>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5ECAABDE-E3F6-E6DD-B8FC-20B6615D99F5}"/>
              </a:ext>
            </a:extLst>
          </p:cNvPr>
          <p:cNvSpPr/>
          <p:nvPr>
            <p:custDataLst>
              <p:tags r:id="rId8"/>
            </p:custDataLst>
          </p:nvPr>
        </p:nvSpPr>
        <p:spPr>
          <a:xfrm>
            <a:off x="1287264" y="2786769"/>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9A13A035-DED8-CC67-D17B-5F3409E160BA}"/>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dirty="0" err="1">
                <a:solidFill>
                  <a:srgbClr val="FFFFFF">
                    <a:lumMod val="100000"/>
                  </a:srgbClr>
                </a:solidFill>
                <a:latin typeface="Calibri" panose="020F0502020204030204" pitchFamily="34" charset="0"/>
              </a:rPr>
              <a:t>Materials</a:t>
            </a:r>
            <a:r>
              <a:rPr lang="pt-BR" sz="2200" dirty="0">
                <a:solidFill>
                  <a:srgbClr val="FFFFFF">
                    <a:lumMod val="100000"/>
                  </a:srgbClr>
                </a:solidFill>
                <a:latin typeface="Calibri" panose="020F0502020204030204" pitchFamily="34" charset="0"/>
              </a:rPr>
              <a:t> </a:t>
            </a:r>
            <a:r>
              <a:rPr lang="pt-BR" sz="2200" dirty="0" err="1">
                <a:solidFill>
                  <a:srgbClr val="FFFFFF">
                    <a:lumMod val="100000"/>
                  </a:srgbClr>
                </a:solidFill>
                <a:latin typeface="Calibri" panose="020F0502020204030204" pitchFamily="34" charset="0"/>
              </a:rPr>
              <a:t>and</a:t>
            </a:r>
            <a:r>
              <a:rPr lang="pt-BR" sz="2200" dirty="0">
                <a:solidFill>
                  <a:srgbClr val="FFFFFF">
                    <a:lumMod val="100000"/>
                  </a:srgbClr>
                </a:solidFill>
                <a:latin typeface="Calibri" panose="020F0502020204030204" pitchFamily="34" charset="0"/>
              </a:rPr>
              <a:t> </a:t>
            </a:r>
            <a:r>
              <a:rPr lang="pt-BR" sz="2200" dirty="0" err="1">
                <a:solidFill>
                  <a:srgbClr val="FFFFFF">
                    <a:lumMod val="100000"/>
                  </a:srgbClr>
                </a:solidFill>
                <a:latin typeface="Calibri" panose="020F0502020204030204" pitchFamily="34" charset="0"/>
              </a:rPr>
              <a:t>Methods</a:t>
            </a:r>
            <a:endParaRPr lang="pt-BR" sz="2200" dirty="0">
              <a:solidFill>
                <a:srgbClr val="FFFFFF">
                  <a:lumMod val="100000"/>
                </a:srgbClr>
              </a:solidFill>
              <a:latin typeface="Calibri" panose="020F0502020204030204" pitchFamily="34" charset="0"/>
            </a:endParaRPr>
          </a:p>
        </p:txBody>
      </p:sp>
      <p:sp>
        <p:nvSpPr>
          <p:cNvPr id="60" name="Retângulo 59">
            <a:hlinkClick r:id="rId21" action="ppaction://hlinksldjump"/>
            <a:extLst>
              <a:ext uri="{FF2B5EF4-FFF2-40B4-BE49-F238E27FC236}">
                <a16:creationId xmlns:a16="http://schemas.microsoft.com/office/drawing/2014/main" id="{DD3BC8B5-C103-AAB1-FACF-4F8C81CE4EFA}"/>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CC53FA12-367E-E1BD-6D93-DA17DFDF8F86}"/>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917ABAF6-C267-FCC9-20D9-8C44554E8472}"/>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3814FE63-D39C-32A3-D5B5-8A49DD77FE96}"/>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78F58096-E91F-C167-0133-7CFDB1564792}"/>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1814A359-ED6F-F4E4-0FFA-C90390C99C29}"/>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32D70B98-F95A-B273-0F51-AE0BEC6D3AFF}"/>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A50AE4D8-CFCD-F0DA-D161-3ECE687FF737}"/>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3188805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Materials and Methods: </a:t>
            </a:r>
            <a:r>
              <a:rPr lang="en-US" b="0" i="1" dirty="0"/>
              <a:t>Methods</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27143"/>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6" name="Retângulo 5">
            <a:extLst>
              <a:ext uri="{FF2B5EF4-FFF2-40B4-BE49-F238E27FC236}">
                <a16:creationId xmlns:a16="http://schemas.microsoft.com/office/drawing/2014/main" id="{24D705CD-EC54-48AA-0644-8BF7B59D2136}"/>
              </a:ext>
            </a:extLst>
          </p:cNvPr>
          <p:cNvSpPr/>
          <p:nvPr/>
        </p:nvSpPr>
        <p:spPr>
          <a:xfrm>
            <a:off x="334947" y="791522"/>
            <a:ext cx="9043200"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5173575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6" name="Retângulo 5">
            <a:extLst>
              <a:ext uri="{FF2B5EF4-FFF2-40B4-BE49-F238E27FC236}">
                <a16:creationId xmlns:a16="http://schemas.microsoft.com/office/drawing/2014/main" id="{33DB97D0-5635-1020-23A9-665E301BF1C0}"/>
              </a:ext>
            </a:extLst>
          </p:cNvPr>
          <p:cNvSpPr/>
          <p:nvPr/>
        </p:nvSpPr>
        <p:spPr>
          <a:xfrm>
            <a:off x="2182761" y="791521"/>
            <a:ext cx="7195388"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Materials and Methods: </a:t>
            </a:r>
            <a:r>
              <a:rPr lang="en-US" b="0" i="1" dirty="0"/>
              <a:t>Methods</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1834338" cy="5227143"/>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8" name="Retângulo 7">
            <a:extLst>
              <a:ext uri="{FF2B5EF4-FFF2-40B4-BE49-F238E27FC236}">
                <a16:creationId xmlns:a16="http://schemas.microsoft.com/office/drawing/2014/main" id="{C252D160-0523-0B95-C941-8D216A6A6522}"/>
              </a:ext>
            </a:extLst>
          </p:cNvPr>
          <p:cNvSpPr/>
          <p:nvPr/>
        </p:nvSpPr>
        <p:spPr>
          <a:xfrm>
            <a:off x="2182760" y="698090"/>
            <a:ext cx="7348589" cy="5416806"/>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6706672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8" name="Retângulo 7">
            <a:extLst>
              <a:ext uri="{FF2B5EF4-FFF2-40B4-BE49-F238E27FC236}">
                <a16:creationId xmlns:a16="http://schemas.microsoft.com/office/drawing/2014/main" id="{97384AF5-70DE-C3FF-36A8-7B76507B5272}"/>
              </a:ext>
            </a:extLst>
          </p:cNvPr>
          <p:cNvSpPr/>
          <p:nvPr/>
        </p:nvSpPr>
        <p:spPr>
          <a:xfrm>
            <a:off x="4063712" y="792000"/>
            <a:ext cx="5287490" cy="522666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9" name="Retângulo 8">
            <a:extLst>
              <a:ext uri="{FF2B5EF4-FFF2-40B4-BE49-F238E27FC236}">
                <a16:creationId xmlns:a16="http://schemas.microsoft.com/office/drawing/2014/main" id="{B3A8CC3E-3245-DDC7-9970-45DC75ECEF2C}"/>
              </a:ext>
            </a:extLst>
          </p:cNvPr>
          <p:cNvSpPr/>
          <p:nvPr/>
        </p:nvSpPr>
        <p:spPr>
          <a:xfrm>
            <a:off x="2196235" y="792000"/>
            <a:ext cx="1867477"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Materials and Methods: </a:t>
            </a:r>
            <a:r>
              <a:rPr lang="en-US" b="0" i="1" dirty="0"/>
              <a:t>Methods</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2000"/>
            <a:ext cx="1854003" cy="522666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13" name="Retângulo 12">
            <a:extLst>
              <a:ext uri="{FF2B5EF4-FFF2-40B4-BE49-F238E27FC236}">
                <a16:creationId xmlns:a16="http://schemas.microsoft.com/office/drawing/2014/main" id="{8FA054D2-FA23-252B-8FA9-5AFCDFFAA091}"/>
              </a:ext>
            </a:extLst>
          </p:cNvPr>
          <p:cNvSpPr/>
          <p:nvPr/>
        </p:nvSpPr>
        <p:spPr>
          <a:xfrm>
            <a:off x="4063711" y="730250"/>
            <a:ext cx="5397789" cy="5384646"/>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5" name="Retângulo 14">
            <a:extLst>
              <a:ext uri="{FF2B5EF4-FFF2-40B4-BE49-F238E27FC236}">
                <a16:creationId xmlns:a16="http://schemas.microsoft.com/office/drawing/2014/main" id="{D40F7538-07AB-1274-0112-FD8E98DEBACB}"/>
              </a:ext>
            </a:extLst>
          </p:cNvPr>
          <p:cNvSpPr/>
          <p:nvPr/>
        </p:nvSpPr>
        <p:spPr>
          <a:xfrm>
            <a:off x="165905" y="730250"/>
            <a:ext cx="2030329" cy="538512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5643185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9" name="Retângulo 8">
            <a:extLst>
              <a:ext uri="{FF2B5EF4-FFF2-40B4-BE49-F238E27FC236}">
                <a16:creationId xmlns:a16="http://schemas.microsoft.com/office/drawing/2014/main" id="{2A2BCD31-AADF-0347-40F5-FACC0325264C}"/>
              </a:ext>
            </a:extLst>
          </p:cNvPr>
          <p:cNvSpPr/>
          <p:nvPr/>
        </p:nvSpPr>
        <p:spPr>
          <a:xfrm>
            <a:off x="5742041" y="792000"/>
            <a:ext cx="3636107" cy="522666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8" name="Retângulo 7">
            <a:extLst>
              <a:ext uri="{FF2B5EF4-FFF2-40B4-BE49-F238E27FC236}">
                <a16:creationId xmlns:a16="http://schemas.microsoft.com/office/drawing/2014/main" id="{A7BCA2B2-7BF8-6759-DFE8-9D3F5D4F0C45}"/>
              </a:ext>
            </a:extLst>
          </p:cNvPr>
          <p:cNvSpPr/>
          <p:nvPr/>
        </p:nvSpPr>
        <p:spPr>
          <a:xfrm>
            <a:off x="3998005" y="792000"/>
            <a:ext cx="1867477"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Materials and Methods: </a:t>
            </a:r>
            <a:r>
              <a:rPr lang="en-US" b="0" i="1" dirty="0"/>
              <a:t>Methods</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2000"/>
            <a:ext cx="3636108" cy="5226664"/>
          </a:xfrm>
          <a:prstGeom prst="rect">
            <a:avLst/>
          </a:prstGeom>
          <a:solidFill>
            <a:srgbClr val="D2D2D2"/>
          </a:solidFill>
          <a:ln w="25400" cap="flat" cmpd="sng" algn="ctr">
            <a:solidFill>
              <a:srgbClr val="D2D2D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13" name="Retângulo 12">
            <a:extLst>
              <a:ext uri="{FF2B5EF4-FFF2-40B4-BE49-F238E27FC236}">
                <a16:creationId xmlns:a16="http://schemas.microsoft.com/office/drawing/2014/main" id="{8793AC16-6DAB-3EB1-46BA-E3F2264A0134}"/>
              </a:ext>
            </a:extLst>
          </p:cNvPr>
          <p:cNvSpPr/>
          <p:nvPr/>
        </p:nvSpPr>
        <p:spPr>
          <a:xfrm>
            <a:off x="5865481" y="704850"/>
            <a:ext cx="3636107" cy="541052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5" name="Retângulo 14">
            <a:extLst>
              <a:ext uri="{FF2B5EF4-FFF2-40B4-BE49-F238E27FC236}">
                <a16:creationId xmlns:a16="http://schemas.microsoft.com/office/drawing/2014/main" id="{7E787E34-CC39-192C-E0A0-92F4276392F4}"/>
              </a:ext>
            </a:extLst>
          </p:cNvPr>
          <p:cNvSpPr/>
          <p:nvPr/>
        </p:nvSpPr>
        <p:spPr>
          <a:xfrm>
            <a:off x="120650" y="704850"/>
            <a:ext cx="3877353" cy="541052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4670834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8" name="Retângulo 7">
            <a:extLst>
              <a:ext uri="{FF2B5EF4-FFF2-40B4-BE49-F238E27FC236}">
                <a16:creationId xmlns:a16="http://schemas.microsoft.com/office/drawing/2014/main" id="{4FAB6DFE-BAD6-6507-63CF-97DFA5717170}"/>
              </a:ext>
            </a:extLst>
          </p:cNvPr>
          <p:cNvSpPr/>
          <p:nvPr/>
        </p:nvSpPr>
        <p:spPr>
          <a:xfrm>
            <a:off x="5765345" y="792000"/>
            <a:ext cx="1894421"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9" name="Retângulo 8">
            <a:extLst>
              <a:ext uri="{FF2B5EF4-FFF2-40B4-BE49-F238E27FC236}">
                <a16:creationId xmlns:a16="http://schemas.microsoft.com/office/drawing/2014/main" id="{D4C8B05F-80E4-FB05-CEFE-E73B859DFC95}"/>
              </a:ext>
            </a:extLst>
          </p:cNvPr>
          <p:cNvSpPr/>
          <p:nvPr/>
        </p:nvSpPr>
        <p:spPr>
          <a:xfrm>
            <a:off x="7659766" y="791521"/>
            <a:ext cx="1718382"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Materials and Methods: </a:t>
            </a:r>
            <a:r>
              <a:rPr lang="en-US" b="0" i="1" dirty="0"/>
              <a:t>Methods</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5416922"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13" name="Retângulo 12">
            <a:extLst>
              <a:ext uri="{FF2B5EF4-FFF2-40B4-BE49-F238E27FC236}">
                <a16:creationId xmlns:a16="http://schemas.microsoft.com/office/drawing/2014/main" id="{99791F82-D352-060D-C251-BAC26CE338B2}"/>
              </a:ext>
            </a:extLst>
          </p:cNvPr>
          <p:cNvSpPr/>
          <p:nvPr/>
        </p:nvSpPr>
        <p:spPr>
          <a:xfrm>
            <a:off x="7659764" y="791522"/>
            <a:ext cx="1718382"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5" name="Retângulo 14">
            <a:extLst>
              <a:ext uri="{FF2B5EF4-FFF2-40B4-BE49-F238E27FC236}">
                <a16:creationId xmlns:a16="http://schemas.microsoft.com/office/drawing/2014/main" id="{8BCC088F-0EA2-BF30-D1CD-6B92A7B51E13}"/>
              </a:ext>
            </a:extLst>
          </p:cNvPr>
          <p:cNvSpPr/>
          <p:nvPr/>
        </p:nvSpPr>
        <p:spPr>
          <a:xfrm>
            <a:off x="321479" y="723900"/>
            <a:ext cx="5443866" cy="5390996"/>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19966561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sp>
        <p:nvSpPr>
          <p:cNvPr id="6" name="Google Shape;237;p31">
            <a:extLst>
              <a:ext uri="{FF2B5EF4-FFF2-40B4-BE49-F238E27FC236}">
                <a16:creationId xmlns:a16="http://schemas.microsoft.com/office/drawing/2014/main" id="{90379D73-0B31-CFF6-C410-90CFD31586F7}"/>
              </a:ext>
            </a:extLst>
          </p:cNvPr>
          <p:cNvSpPr txBox="1">
            <a:spLocks noGrp="1"/>
          </p:cNvSpPr>
          <p:nvPr>
            <p:ph type="body" idx="1"/>
          </p:nvPr>
        </p:nvSpPr>
        <p:spPr>
          <a:xfrm>
            <a:off x="334949" y="792000"/>
            <a:ext cx="9043200"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2.2 billions some visual impairment.</a:t>
            </a:r>
          </a:p>
          <a:p>
            <a:pPr marL="812800" lvl="1" indent="-355600">
              <a:spcBef>
                <a:spcPts val="0"/>
              </a:spcBef>
            </a:pPr>
            <a:r>
              <a:rPr lang="en-US" dirty="0"/>
              <a:t>295 million have moderate or severe vision impairment.</a:t>
            </a:r>
          </a:p>
          <a:p>
            <a:pPr marL="812800" lvl="1" indent="-355600">
              <a:spcBef>
                <a:spcPts val="0"/>
              </a:spcBef>
            </a:pPr>
            <a:r>
              <a:rPr lang="en-US" dirty="0"/>
              <a:t>43,3 million are blind</a:t>
            </a:r>
          </a:p>
          <a:p>
            <a:pPr marL="457200" lvl="1" indent="0">
              <a:spcBef>
                <a:spcPts val="0"/>
              </a:spcBef>
              <a:buSzPts val="2640"/>
              <a:buNone/>
            </a:pPr>
            <a:endParaRPr lang="en-US" dirty="0"/>
          </a:p>
          <a:p>
            <a:pPr marL="355600" indent="-355600">
              <a:spcBef>
                <a:spcPts val="0"/>
              </a:spcBef>
            </a:pPr>
            <a:r>
              <a:rPr lang="en-US" dirty="0"/>
              <a:t>Dissatisfaction of the community</a:t>
            </a:r>
          </a:p>
          <a:p>
            <a:pPr marL="355600" indent="-355600">
              <a:spcBef>
                <a:spcPts val="0"/>
              </a:spcBef>
            </a:pPr>
            <a:endParaRPr lang="en-US" dirty="0"/>
          </a:p>
          <a:p>
            <a:pPr marL="355600" indent="-355600">
              <a:spcBef>
                <a:spcPts val="0"/>
              </a:spcBef>
            </a:pPr>
            <a:r>
              <a:rPr lang="en-US" dirty="0"/>
              <a:t>COVID-19</a:t>
            </a:r>
          </a:p>
          <a:p>
            <a:pPr marL="812800" lvl="1" indent="-355600">
              <a:spcBef>
                <a:spcPts val="0"/>
              </a:spcBef>
            </a:pPr>
            <a:r>
              <a:rPr lang="en-US" dirty="0"/>
              <a:t>WHO recommendations</a:t>
            </a:r>
          </a:p>
          <a:p>
            <a:pPr marL="0" indent="0">
              <a:spcBef>
                <a:spcPts val="0"/>
              </a:spcBef>
              <a:buNone/>
            </a:pPr>
            <a:endParaRPr lang="en-US" dirty="0"/>
          </a:p>
          <a:p>
            <a:pPr marL="355600" indent="-355600">
              <a:spcBef>
                <a:spcPts val="0"/>
              </a:spcBef>
            </a:pPr>
            <a:endParaRPr lang="en-US" dirty="0"/>
          </a:p>
          <a:p>
            <a:pPr marL="812800" lvl="1" indent="-355600">
              <a:spcBef>
                <a:spcPts val="0"/>
              </a:spcBef>
              <a:buSzPts val="2640"/>
              <a:buFont typeface="Noto Sans Symbols"/>
              <a:buChar char="▪"/>
            </a:pPr>
            <a:endParaRPr lang="en-US" dirty="0"/>
          </a:p>
          <a:p>
            <a:pPr marL="457200" lvl="1" indent="0">
              <a:spcBef>
                <a:spcPts val="0"/>
              </a:spcBef>
              <a:buSzPts val="2640"/>
              <a:buNone/>
            </a:pPr>
            <a:r>
              <a:rPr lang="en-US" dirty="0"/>
              <a:t>	</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4257" y="3021188"/>
            <a:ext cx="2689535" cy="272795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8" name="Retângulo 7">
            <a:extLst>
              <a:ext uri="{FF2B5EF4-FFF2-40B4-BE49-F238E27FC236}">
                <a16:creationId xmlns:a16="http://schemas.microsoft.com/office/drawing/2014/main" id="{437E1CC8-0BAE-8F95-F330-6263F65D5072}"/>
              </a:ext>
            </a:extLst>
          </p:cNvPr>
          <p:cNvSpPr/>
          <p:nvPr/>
        </p:nvSpPr>
        <p:spPr>
          <a:xfrm>
            <a:off x="7483728" y="792000"/>
            <a:ext cx="1894421"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Materials and Methods: </a:t>
            </a:r>
            <a:r>
              <a:rPr lang="en-US" b="0" i="1" dirty="0"/>
              <a:t>Methods</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7135305"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10" name="Retângulo 9">
            <a:extLst>
              <a:ext uri="{FF2B5EF4-FFF2-40B4-BE49-F238E27FC236}">
                <a16:creationId xmlns:a16="http://schemas.microsoft.com/office/drawing/2014/main" id="{6DE9378D-0D33-B067-FDDE-3371D55F9834}"/>
              </a:ext>
            </a:extLst>
          </p:cNvPr>
          <p:cNvSpPr/>
          <p:nvPr/>
        </p:nvSpPr>
        <p:spPr>
          <a:xfrm>
            <a:off x="334949" y="792000"/>
            <a:ext cx="7148779"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0668061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6CF33F7A-DDD7-9EE9-9795-170E5503171C}"/>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3F5E07B5-E179-8DBD-5D7C-7D4D98962BE9}"/>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4B20EEF5-85B6-CDAC-554C-E3193232ED33}"/>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195593EF-8054-94DE-9AE9-2CA520335FD3}"/>
              </a:ext>
            </a:extLst>
          </p:cNvPr>
          <p:cNvSpPr/>
          <p:nvPr>
            <p:custDataLst>
              <p:tags r:id="rId5"/>
            </p:custDataLst>
          </p:nvPr>
        </p:nvSpPr>
        <p:spPr>
          <a:xfrm>
            <a:off x="1287264" y="3371401"/>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8EABAA0F-0E7C-58AC-B5FD-F758EC8E3BE6}"/>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C015E40B-5A8D-7E73-BE4C-378C572104C9}"/>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40511E78-5848-7330-F72E-E7E3719119AD}"/>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8CAE7762-1334-D983-8D48-C46FD6618123}"/>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F8873310-BCCE-CEAA-FC89-028FDE3FDC3E}"/>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523A40E0-4939-BEF7-BEA2-824BB3396D97}"/>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0B622BBF-AFE6-4110-BD32-207C2683E6BE}"/>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23D28605-FB94-DC2A-4B31-5AF257B84571}"/>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7A0D2650-B7AA-9235-F49D-F74D6006B3AC}"/>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1BFAD9E2-5F89-2B21-5FF2-3951F04FB640}"/>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1495B2BD-3CC2-C8BF-631F-508170560C83}"/>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5D8C2F12-D4C4-EDF5-B1D4-4C0ACB37F51B}"/>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38515034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7EEC5E00-35D6-8B49-C8AE-A7B10EA51F9B}"/>
              </a:ext>
            </a:extLst>
          </p:cNvPr>
          <p:cNvSpPr/>
          <p:nvPr>
            <p:custDataLst>
              <p:tags r:id="rId2"/>
            </p:custDataLst>
          </p:nvPr>
        </p:nvSpPr>
        <p:spPr>
          <a:xfrm>
            <a:off x="1287264" y="3956033"/>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F724F318-F865-0D16-3B63-A742439EC88A}"/>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dirty="0" err="1">
                <a:solidFill>
                  <a:srgbClr val="FFFFFF">
                    <a:lumMod val="100000"/>
                  </a:srgbClr>
                </a:solidFill>
                <a:latin typeface="Calibri" panose="020F0502020204030204" pitchFamily="34" charset="0"/>
              </a:rPr>
              <a:t>Conclusion</a:t>
            </a:r>
            <a:r>
              <a:rPr lang="pt-BR" sz="2200" dirty="0">
                <a:solidFill>
                  <a:srgbClr val="FFFFFF">
                    <a:lumMod val="100000"/>
                  </a:srgbClr>
                </a:solidFill>
                <a:latin typeface="Calibri" panose="020F0502020204030204" pitchFamily="34" charset="0"/>
              </a:rPr>
              <a:t> </a:t>
            </a:r>
            <a:r>
              <a:rPr lang="pt-BR" sz="2200" dirty="0" err="1">
                <a:solidFill>
                  <a:srgbClr val="FFFFFF">
                    <a:lumMod val="100000"/>
                  </a:srgbClr>
                </a:solidFill>
                <a:latin typeface="Calibri" panose="020F0502020204030204" pitchFamily="34" charset="0"/>
              </a:rPr>
              <a:t>and</a:t>
            </a:r>
            <a:r>
              <a:rPr lang="pt-BR" sz="2200" dirty="0">
                <a:solidFill>
                  <a:srgbClr val="FFFFFF">
                    <a:lumMod val="100000"/>
                  </a:srgbClr>
                </a:solidFill>
                <a:latin typeface="Calibri" panose="020F0502020204030204" pitchFamily="34" charset="0"/>
              </a:rPr>
              <a:t> </a:t>
            </a:r>
            <a:r>
              <a:rPr lang="pt-BR" sz="2200" dirty="0" err="1">
                <a:solidFill>
                  <a:srgbClr val="FFFFFF">
                    <a:lumMod val="100000"/>
                  </a:srgbClr>
                </a:solidFill>
                <a:latin typeface="Calibri" panose="020F0502020204030204" pitchFamily="34" charset="0"/>
              </a:rPr>
              <a:t>outlook</a:t>
            </a:r>
            <a:endParaRPr lang="pt-BR" sz="2200" dirty="0">
              <a:solidFill>
                <a:srgbClr val="FFFFFF">
                  <a:lumMod val="100000"/>
                </a:srgbClr>
              </a:solidFill>
              <a:latin typeface="Calibri" panose="020F0502020204030204" pitchFamily="34" charset="0"/>
            </a:endParaRPr>
          </a:p>
        </p:txBody>
      </p:sp>
      <p:sp>
        <p:nvSpPr>
          <p:cNvPr id="66" name="Retângulo 65">
            <a:hlinkClick r:id="rId19" action="ppaction://hlinksldjump"/>
            <a:extLst>
              <a:ext uri="{FF2B5EF4-FFF2-40B4-BE49-F238E27FC236}">
                <a16:creationId xmlns:a16="http://schemas.microsoft.com/office/drawing/2014/main" id="{9F471C1F-FAAA-1BA2-54B6-463E3CF08430}"/>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27A74FB1-B89D-2880-03A7-BD659E5F845F}"/>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38AD8FE3-C173-0C6E-F4E7-0997FA6A7E24}"/>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3F991359-B3C9-2443-2C62-BAC9A426D51E}"/>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5C69A552-2DCB-1DEA-3102-6998CA3D1F7D}"/>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26AE01E5-1499-EA6D-26B8-12C7E2F694B8}"/>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8489F0FE-3B81-6245-851C-1E080F5F3401}"/>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FC085198-59EC-3FD4-4FC5-98946FE1D56A}"/>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7C1426AF-9601-58A7-7BF3-A278E5E1F490}"/>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E98543A3-2D0F-A2B0-6F15-C16FA8DA172B}"/>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24D3DE8E-6B3C-5001-E20C-DD5C983B9B7D}"/>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89F5FFFD-EC07-B5C5-736C-D5AE489B6FBE}"/>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1F06BD4F-4347-DE94-CBCA-AB1D2DE983EA}"/>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E2F4AFD4-24E2-0F81-7A3F-C46524B023B0}"/>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26556724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35" name="Retângulo 34">
            <a:extLst>
              <a:ext uri="{FF2B5EF4-FFF2-40B4-BE49-F238E27FC236}">
                <a16:creationId xmlns:a16="http://schemas.microsoft.com/office/drawing/2014/main" id="{06EEDD14-894E-2C26-6583-4098006ACEF3}"/>
              </a:ext>
            </a:extLst>
          </p:cNvPr>
          <p:cNvSpPr/>
          <p:nvPr/>
        </p:nvSpPr>
        <p:spPr>
          <a:xfrm>
            <a:off x="334949" y="2681280"/>
            <a:ext cx="4371810" cy="3361051"/>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Conclusion and outlook: </a:t>
            </a:r>
            <a:r>
              <a:rPr lang="en-US" b="0" i="1" dirty="0"/>
              <a:t>Conclusions</a:t>
            </a:r>
          </a:p>
        </p:txBody>
      </p:sp>
      <p:grpSp>
        <p:nvGrpSpPr>
          <p:cNvPr id="3" name="Agrupar 2">
            <a:extLst>
              <a:ext uri="{FF2B5EF4-FFF2-40B4-BE49-F238E27FC236}">
                <a16:creationId xmlns:a16="http://schemas.microsoft.com/office/drawing/2014/main" id="{9D5A7801-B653-8FBB-5F08-C9ED51CA2204}"/>
              </a:ext>
            </a:extLst>
          </p:cNvPr>
          <p:cNvGrpSpPr/>
          <p:nvPr/>
        </p:nvGrpSpPr>
        <p:grpSpPr>
          <a:xfrm>
            <a:off x="334949" y="792000"/>
            <a:ext cx="4371810" cy="1889280"/>
            <a:chOff x="334949" y="1008019"/>
            <a:chExt cx="4371810" cy="1889280"/>
          </a:xfrm>
        </p:grpSpPr>
        <p:sp>
          <p:nvSpPr>
            <p:cNvPr id="2" name="Retângulo 1">
              <a:extLst>
                <a:ext uri="{FF2B5EF4-FFF2-40B4-BE49-F238E27FC236}">
                  <a16:creationId xmlns:a16="http://schemas.microsoft.com/office/drawing/2014/main" id="{55E4EA3B-46BE-210B-FE9A-756E9E272DFC}"/>
                </a:ext>
              </a:extLst>
            </p:cNvPr>
            <p:cNvSpPr/>
            <p:nvPr/>
          </p:nvSpPr>
          <p:spPr>
            <a:xfrm>
              <a:off x="334949" y="1376220"/>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1" name="Google Shape;237;p31">
              <a:extLst>
                <a:ext uri="{FF2B5EF4-FFF2-40B4-BE49-F238E27FC236}">
                  <a16:creationId xmlns:a16="http://schemas.microsoft.com/office/drawing/2014/main" id="{7DFFF9CB-32AC-36D9-80AF-DDBE7DC8659E}"/>
                </a:ext>
              </a:extLst>
            </p:cNvPr>
            <p:cNvSpPr txBox="1">
              <a:spLocks/>
            </p:cNvSpPr>
            <p:nvPr/>
          </p:nvSpPr>
          <p:spPr>
            <a:xfrm>
              <a:off x="334949" y="1400005"/>
              <a:ext cx="4069903" cy="124059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Compare:</a:t>
              </a:r>
            </a:p>
            <a:p>
              <a:pPr marL="812800" lvl="1">
                <a:spcBef>
                  <a:spcPts val="0"/>
                </a:spcBef>
                <a:buSzPts val="2640"/>
                <a:buFont typeface="Noto Sans Symbols"/>
                <a:buChar char="▪"/>
              </a:pPr>
              <a:r>
                <a:rPr lang="en-US" sz="1800" dirty="0"/>
                <a:t>Assistive devices;</a:t>
              </a:r>
            </a:p>
            <a:p>
              <a:pPr marL="812800" lvl="1">
                <a:spcBef>
                  <a:spcPts val="0"/>
                </a:spcBef>
                <a:buSzPts val="2640"/>
                <a:buFont typeface="Noto Sans Symbols"/>
                <a:buChar char="▪"/>
              </a:pPr>
              <a:r>
                <a:rPr lang="en-US" sz="1800" dirty="0"/>
                <a:t>Human factors;</a:t>
              </a:r>
            </a:p>
            <a:p>
              <a:pPr marL="812800" lvl="1">
                <a:spcBef>
                  <a:spcPts val="0"/>
                </a:spcBef>
                <a:buSzPts val="2640"/>
                <a:buFont typeface="Noto Sans Symbols"/>
                <a:buChar char="▪"/>
              </a:pPr>
              <a:r>
                <a:rPr lang="en-US" sz="1800" dirty="0"/>
                <a:t>Virtual environment.</a:t>
              </a:r>
            </a:p>
            <a:p>
              <a:pPr marL="355600">
                <a:spcBef>
                  <a:spcPts val="0"/>
                </a:spcBef>
              </a:pPr>
              <a:r>
                <a:rPr lang="en-US" sz="1800" dirty="0"/>
                <a:t>Main Limitations</a:t>
              </a:r>
            </a:p>
            <a:p>
              <a:pPr marL="0" indent="0">
                <a:spcBef>
                  <a:spcPts val="0"/>
                </a:spcBef>
                <a:buNone/>
              </a:pPr>
              <a:endParaRPr lang="en-US" sz="2000" dirty="0"/>
            </a:p>
          </p:txBody>
        </p:sp>
        <p:sp>
          <p:nvSpPr>
            <p:cNvPr id="25" name="Google Shape;237;p31">
              <a:extLst>
                <a:ext uri="{FF2B5EF4-FFF2-40B4-BE49-F238E27FC236}">
                  <a16:creationId xmlns:a16="http://schemas.microsoft.com/office/drawing/2014/main" id="{9DE04137-4131-49CB-ED49-5786BB17BC10}"/>
                </a:ext>
              </a:extLst>
            </p:cNvPr>
            <p:cNvSpPr txBox="1">
              <a:spLocks/>
            </p:cNvSpPr>
            <p:nvPr/>
          </p:nvSpPr>
          <p:spPr>
            <a:xfrm>
              <a:off x="496631" y="1008019"/>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1</a:t>
              </a:r>
              <a:endParaRPr lang="en-US" sz="2000" dirty="0">
                <a:solidFill>
                  <a:srgbClr val="FFFFFF"/>
                </a:solidFill>
              </a:endParaRPr>
            </a:p>
          </p:txBody>
        </p:sp>
      </p:grpSp>
      <p:grpSp>
        <p:nvGrpSpPr>
          <p:cNvPr id="4" name="Agrupar 3">
            <a:extLst>
              <a:ext uri="{FF2B5EF4-FFF2-40B4-BE49-F238E27FC236}">
                <a16:creationId xmlns:a16="http://schemas.microsoft.com/office/drawing/2014/main" id="{B04835F4-3582-9503-6B0E-C65F2369350B}"/>
              </a:ext>
            </a:extLst>
          </p:cNvPr>
          <p:cNvGrpSpPr/>
          <p:nvPr/>
        </p:nvGrpSpPr>
        <p:grpSpPr>
          <a:xfrm>
            <a:off x="4992866" y="792000"/>
            <a:ext cx="4385282" cy="1913065"/>
            <a:chOff x="4992866" y="1829066"/>
            <a:chExt cx="4385282" cy="1913065"/>
          </a:xfrm>
        </p:grpSpPr>
        <p:sp>
          <p:nvSpPr>
            <p:cNvPr id="12" name="Retângulo 11">
              <a:extLst>
                <a:ext uri="{FF2B5EF4-FFF2-40B4-BE49-F238E27FC236}">
                  <a16:creationId xmlns:a16="http://schemas.microsoft.com/office/drawing/2014/main" id="{E1D250CF-D224-21EE-3887-756F31127729}"/>
                </a:ext>
              </a:extLst>
            </p:cNvPr>
            <p:cNvSpPr/>
            <p:nvPr/>
          </p:nvSpPr>
          <p:spPr>
            <a:xfrm>
              <a:off x="5006338" y="2197267"/>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3" name="Google Shape;237;p31">
              <a:extLst>
                <a:ext uri="{FF2B5EF4-FFF2-40B4-BE49-F238E27FC236}">
                  <a16:creationId xmlns:a16="http://schemas.microsoft.com/office/drawing/2014/main" id="{AB5E4888-D89D-1ECF-09AA-037124D02D03}"/>
                </a:ext>
              </a:extLst>
            </p:cNvPr>
            <p:cNvSpPr txBox="1">
              <a:spLocks/>
            </p:cNvSpPr>
            <p:nvPr/>
          </p:nvSpPr>
          <p:spPr>
            <a:xfrm>
              <a:off x="4992866" y="2221052"/>
              <a:ext cx="4210128" cy="15210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812800" lvl="1" indent="-355600">
                <a:spcBef>
                  <a:spcPts val="0"/>
                </a:spcBef>
                <a:buSzPts val="2640"/>
                <a:buFont typeface="Noto Sans Symbols"/>
                <a:buChar char="▪"/>
              </a:pPr>
              <a:r>
                <a:rPr lang="en-US" sz="1800" dirty="0"/>
                <a:t>non-BVI users:</a:t>
              </a:r>
            </a:p>
            <a:p>
              <a:pPr marL="1270000" lvl="2">
                <a:spcBef>
                  <a:spcPts val="0"/>
                </a:spcBef>
                <a:buSzPts val="2640"/>
                <a:buFont typeface="Noto Sans Symbols"/>
                <a:buChar char="▪"/>
              </a:pPr>
              <a:r>
                <a:rPr lang="en-US" sz="1800" dirty="0"/>
                <a:t>Deprived of their vision;</a:t>
              </a:r>
            </a:p>
            <a:p>
              <a:pPr marL="1270000" lvl="2">
                <a:spcBef>
                  <a:spcPts val="0"/>
                </a:spcBef>
                <a:buSzPts val="2640"/>
                <a:buFont typeface="Noto Sans Symbols"/>
                <a:buChar char="▪"/>
              </a:pPr>
              <a:r>
                <a:rPr lang="en-US" sz="1800" dirty="0"/>
                <a:t>Similarly assistive devices as BVI users.</a:t>
              </a:r>
            </a:p>
          </p:txBody>
        </p:sp>
        <p:sp>
          <p:nvSpPr>
            <p:cNvPr id="26" name="Google Shape;237;p31">
              <a:extLst>
                <a:ext uri="{FF2B5EF4-FFF2-40B4-BE49-F238E27FC236}">
                  <a16:creationId xmlns:a16="http://schemas.microsoft.com/office/drawing/2014/main" id="{FA4DB664-0350-E173-96A1-FF22B7EE9F77}"/>
                </a:ext>
              </a:extLst>
            </p:cNvPr>
            <p:cNvSpPr txBox="1">
              <a:spLocks/>
            </p:cNvSpPr>
            <p:nvPr/>
          </p:nvSpPr>
          <p:spPr>
            <a:xfrm>
              <a:off x="5186876" y="1829066"/>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2</a:t>
              </a:r>
              <a:endParaRPr lang="en-US" sz="2000" dirty="0">
                <a:solidFill>
                  <a:srgbClr val="FFFFFF"/>
                </a:solidFill>
              </a:endParaRPr>
            </a:p>
          </p:txBody>
        </p:sp>
      </p:grpSp>
      <p:sp>
        <p:nvSpPr>
          <p:cNvPr id="36" name="Retângulo 35">
            <a:extLst>
              <a:ext uri="{FF2B5EF4-FFF2-40B4-BE49-F238E27FC236}">
                <a16:creationId xmlns:a16="http://schemas.microsoft.com/office/drawing/2014/main" id="{92FB7F04-40A9-493B-D5D7-05D075E75D7C}"/>
              </a:ext>
            </a:extLst>
          </p:cNvPr>
          <p:cNvSpPr/>
          <p:nvPr/>
        </p:nvSpPr>
        <p:spPr>
          <a:xfrm>
            <a:off x="5006338" y="2681279"/>
            <a:ext cx="4371810" cy="3361051"/>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2" name="Retângulo 41">
            <a:extLst>
              <a:ext uri="{FF2B5EF4-FFF2-40B4-BE49-F238E27FC236}">
                <a16:creationId xmlns:a16="http://schemas.microsoft.com/office/drawing/2014/main" id="{A6C7024B-715D-D675-3AD1-90907F4B495C}"/>
              </a:ext>
            </a:extLst>
          </p:cNvPr>
          <p:cNvSpPr/>
          <p:nvPr/>
        </p:nvSpPr>
        <p:spPr>
          <a:xfrm>
            <a:off x="334949" y="792000"/>
            <a:ext cx="9043199"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1653242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35" name="Retângulo 34">
            <a:extLst>
              <a:ext uri="{FF2B5EF4-FFF2-40B4-BE49-F238E27FC236}">
                <a16:creationId xmlns:a16="http://schemas.microsoft.com/office/drawing/2014/main" id="{06EEDD14-894E-2C26-6583-4098006ACEF3}"/>
              </a:ext>
            </a:extLst>
          </p:cNvPr>
          <p:cNvSpPr/>
          <p:nvPr/>
        </p:nvSpPr>
        <p:spPr>
          <a:xfrm>
            <a:off x="334949" y="2635502"/>
            <a:ext cx="4371810" cy="3383162"/>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Conclusion and outlook: </a:t>
            </a:r>
            <a:r>
              <a:rPr lang="en-US" b="0" i="1" dirty="0"/>
              <a:t>Conclusions</a:t>
            </a:r>
          </a:p>
        </p:txBody>
      </p:sp>
      <p:grpSp>
        <p:nvGrpSpPr>
          <p:cNvPr id="3" name="Agrupar 2">
            <a:extLst>
              <a:ext uri="{FF2B5EF4-FFF2-40B4-BE49-F238E27FC236}">
                <a16:creationId xmlns:a16="http://schemas.microsoft.com/office/drawing/2014/main" id="{9D5A7801-B653-8FBB-5F08-C9ED51CA2204}"/>
              </a:ext>
            </a:extLst>
          </p:cNvPr>
          <p:cNvGrpSpPr/>
          <p:nvPr/>
        </p:nvGrpSpPr>
        <p:grpSpPr>
          <a:xfrm>
            <a:off x="334949" y="792000"/>
            <a:ext cx="4371810" cy="1889280"/>
            <a:chOff x="334949" y="1008019"/>
            <a:chExt cx="4371810" cy="1889280"/>
          </a:xfrm>
        </p:grpSpPr>
        <p:sp>
          <p:nvSpPr>
            <p:cNvPr id="2" name="Retângulo 1">
              <a:extLst>
                <a:ext uri="{FF2B5EF4-FFF2-40B4-BE49-F238E27FC236}">
                  <a16:creationId xmlns:a16="http://schemas.microsoft.com/office/drawing/2014/main" id="{55E4EA3B-46BE-210B-FE9A-756E9E272DFC}"/>
                </a:ext>
              </a:extLst>
            </p:cNvPr>
            <p:cNvSpPr/>
            <p:nvPr/>
          </p:nvSpPr>
          <p:spPr>
            <a:xfrm>
              <a:off x="334949" y="1376220"/>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1" name="Google Shape;237;p31">
              <a:extLst>
                <a:ext uri="{FF2B5EF4-FFF2-40B4-BE49-F238E27FC236}">
                  <a16:creationId xmlns:a16="http://schemas.microsoft.com/office/drawing/2014/main" id="{7DFFF9CB-32AC-36D9-80AF-DDBE7DC8659E}"/>
                </a:ext>
              </a:extLst>
            </p:cNvPr>
            <p:cNvSpPr txBox="1">
              <a:spLocks/>
            </p:cNvSpPr>
            <p:nvPr/>
          </p:nvSpPr>
          <p:spPr>
            <a:xfrm>
              <a:off x="334949" y="1400005"/>
              <a:ext cx="4069903" cy="124059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Compare:</a:t>
              </a:r>
            </a:p>
            <a:p>
              <a:pPr marL="812800" lvl="1">
                <a:spcBef>
                  <a:spcPts val="0"/>
                </a:spcBef>
                <a:buSzPts val="2640"/>
                <a:buFont typeface="Noto Sans Symbols"/>
                <a:buChar char="▪"/>
              </a:pPr>
              <a:r>
                <a:rPr lang="en-US" sz="1800" dirty="0"/>
                <a:t>Assistive devices;</a:t>
              </a:r>
            </a:p>
            <a:p>
              <a:pPr marL="812800" lvl="1">
                <a:spcBef>
                  <a:spcPts val="0"/>
                </a:spcBef>
                <a:buSzPts val="2640"/>
                <a:buFont typeface="Noto Sans Symbols"/>
                <a:buChar char="▪"/>
              </a:pPr>
              <a:r>
                <a:rPr lang="en-US" sz="1800" dirty="0"/>
                <a:t>Human factors;</a:t>
              </a:r>
            </a:p>
            <a:p>
              <a:pPr marL="812800" lvl="1">
                <a:spcBef>
                  <a:spcPts val="0"/>
                </a:spcBef>
                <a:buSzPts val="2640"/>
                <a:buFont typeface="Noto Sans Symbols"/>
                <a:buChar char="▪"/>
              </a:pPr>
              <a:r>
                <a:rPr lang="en-US" sz="1800" dirty="0"/>
                <a:t>Virtual environment.</a:t>
              </a:r>
            </a:p>
            <a:p>
              <a:pPr marL="355600">
                <a:spcBef>
                  <a:spcPts val="0"/>
                </a:spcBef>
              </a:pPr>
              <a:r>
                <a:rPr lang="en-US" sz="1800" dirty="0"/>
                <a:t>Main Limitations</a:t>
              </a:r>
            </a:p>
            <a:p>
              <a:pPr marL="0" indent="0">
                <a:spcBef>
                  <a:spcPts val="0"/>
                </a:spcBef>
                <a:buNone/>
              </a:pPr>
              <a:endParaRPr lang="en-US" sz="2000" dirty="0"/>
            </a:p>
          </p:txBody>
        </p:sp>
        <p:sp>
          <p:nvSpPr>
            <p:cNvPr id="25" name="Google Shape;237;p31">
              <a:extLst>
                <a:ext uri="{FF2B5EF4-FFF2-40B4-BE49-F238E27FC236}">
                  <a16:creationId xmlns:a16="http://schemas.microsoft.com/office/drawing/2014/main" id="{9DE04137-4131-49CB-ED49-5786BB17BC10}"/>
                </a:ext>
              </a:extLst>
            </p:cNvPr>
            <p:cNvSpPr txBox="1">
              <a:spLocks/>
            </p:cNvSpPr>
            <p:nvPr/>
          </p:nvSpPr>
          <p:spPr>
            <a:xfrm>
              <a:off x="496631" y="1008019"/>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1</a:t>
              </a:r>
              <a:endParaRPr lang="en-US" sz="2000" dirty="0">
                <a:solidFill>
                  <a:srgbClr val="FFFFFF"/>
                </a:solidFill>
              </a:endParaRPr>
            </a:p>
          </p:txBody>
        </p:sp>
      </p:grpSp>
      <p:grpSp>
        <p:nvGrpSpPr>
          <p:cNvPr id="4" name="Agrupar 3">
            <a:extLst>
              <a:ext uri="{FF2B5EF4-FFF2-40B4-BE49-F238E27FC236}">
                <a16:creationId xmlns:a16="http://schemas.microsoft.com/office/drawing/2014/main" id="{B04835F4-3582-9503-6B0E-C65F2369350B}"/>
              </a:ext>
            </a:extLst>
          </p:cNvPr>
          <p:cNvGrpSpPr/>
          <p:nvPr/>
        </p:nvGrpSpPr>
        <p:grpSpPr>
          <a:xfrm>
            <a:off x="4992866" y="792000"/>
            <a:ext cx="4385282" cy="1913065"/>
            <a:chOff x="4992866" y="1829066"/>
            <a:chExt cx="4385282" cy="1913065"/>
          </a:xfrm>
        </p:grpSpPr>
        <p:sp>
          <p:nvSpPr>
            <p:cNvPr id="12" name="Retângulo 11">
              <a:extLst>
                <a:ext uri="{FF2B5EF4-FFF2-40B4-BE49-F238E27FC236}">
                  <a16:creationId xmlns:a16="http://schemas.microsoft.com/office/drawing/2014/main" id="{E1D250CF-D224-21EE-3887-756F31127729}"/>
                </a:ext>
              </a:extLst>
            </p:cNvPr>
            <p:cNvSpPr/>
            <p:nvPr/>
          </p:nvSpPr>
          <p:spPr>
            <a:xfrm>
              <a:off x="5006338" y="2197267"/>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3" name="Google Shape;237;p31">
              <a:extLst>
                <a:ext uri="{FF2B5EF4-FFF2-40B4-BE49-F238E27FC236}">
                  <a16:creationId xmlns:a16="http://schemas.microsoft.com/office/drawing/2014/main" id="{AB5E4888-D89D-1ECF-09AA-037124D02D03}"/>
                </a:ext>
              </a:extLst>
            </p:cNvPr>
            <p:cNvSpPr txBox="1">
              <a:spLocks/>
            </p:cNvSpPr>
            <p:nvPr/>
          </p:nvSpPr>
          <p:spPr>
            <a:xfrm>
              <a:off x="4992866" y="2221052"/>
              <a:ext cx="4210128" cy="15210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812800" lvl="1" indent="-355600">
                <a:spcBef>
                  <a:spcPts val="0"/>
                </a:spcBef>
                <a:buSzPts val="2640"/>
                <a:buFont typeface="Noto Sans Symbols"/>
                <a:buChar char="▪"/>
              </a:pPr>
              <a:r>
                <a:rPr lang="en-US" sz="1800" dirty="0"/>
                <a:t>non-BVI users:</a:t>
              </a:r>
            </a:p>
            <a:p>
              <a:pPr marL="1270000" lvl="2">
                <a:spcBef>
                  <a:spcPts val="0"/>
                </a:spcBef>
                <a:buSzPts val="2640"/>
                <a:buFont typeface="Noto Sans Symbols"/>
                <a:buChar char="▪"/>
              </a:pPr>
              <a:r>
                <a:rPr lang="en-US" sz="1800" dirty="0"/>
                <a:t>Deprived of their vision;</a:t>
              </a:r>
            </a:p>
            <a:p>
              <a:pPr marL="1270000" lvl="2">
                <a:spcBef>
                  <a:spcPts val="0"/>
                </a:spcBef>
                <a:buSzPts val="2640"/>
                <a:buFont typeface="Noto Sans Symbols"/>
                <a:buChar char="▪"/>
              </a:pPr>
              <a:r>
                <a:rPr lang="en-US" sz="1800" dirty="0"/>
                <a:t>Similarly assistive devices as BVI users.</a:t>
              </a:r>
            </a:p>
          </p:txBody>
        </p:sp>
        <p:sp>
          <p:nvSpPr>
            <p:cNvPr id="26" name="Google Shape;237;p31">
              <a:extLst>
                <a:ext uri="{FF2B5EF4-FFF2-40B4-BE49-F238E27FC236}">
                  <a16:creationId xmlns:a16="http://schemas.microsoft.com/office/drawing/2014/main" id="{FA4DB664-0350-E173-96A1-FF22B7EE9F77}"/>
                </a:ext>
              </a:extLst>
            </p:cNvPr>
            <p:cNvSpPr txBox="1">
              <a:spLocks/>
            </p:cNvSpPr>
            <p:nvPr/>
          </p:nvSpPr>
          <p:spPr>
            <a:xfrm>
              <a:off x="5186876" y="1829066"/>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2</a:t>
              </a:r>
              <a:endParaRPr lang="en-US" sz="2000" dirty="0">
                <a:solidFill>
                  <a:srgbClr val="FFFFFF"/>
                </a:solidFill>
              </a:endParaRPr>
            </a:p>
          </p:txBody>
        </p:sp>
      </p:grpSp>
      <p:sp>
        <p:nvSpPr>
          <p:cNvPr id="36" name="Retângulo 35">
            <a:extLst>
              <a:ext uri="{FF2B5EF4-FFF2-40B4-BE49-F238E27FC236}">
                <a16:creationId xmlns:a16="http://schemas.microsoft.com/office/drawing/2014/main" id="{92FB7F04-40A9-493B-D5D7-05D075E75D7C}"/>
              </a:ext>
            </a:extLst>
          </p:cNvPr>
          <p:cNvSpPr/>
          <p:nvPr/>
        </p:nvSpPr>
        <p:spPr>
          <a:xfrm>
            <a:off x="5006338" y="2681279"/>
            <a:ext cx="4371810" cy="3337385"/>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5" name="Google Shape;237;p31">
            <a:extLst>
              <a:ext uri="{FF2B5EF4-FFF2-40B4-BE49-F238E27FC236}">
                <a16:creationId xmlns:a16="http://schemas.microsoft.com/office/drawing/2014/main" id="{F79EBF0A-FB4B-FE8F-0686-8BDC90A7F871}"/>
              </a:ext>
            </a:extLst>
          </p:cNvPr>
          <p:cNvSpPr txBox="1">
            <a:spLocks/>
          </p:cNvSpPr>
          <p:nvPr/>
        </p:nvSpPr>
        <p:spPr>
          <a:xfrm>
            <a:off x="334950" y="2681281"/>
            <a:ext cx="3113100" cy="5694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Situation awareness</a:t>
            </a:r>
          </a:p>
          <a:p>
            <a:pPr marL="355600" indent="-355600">
              <a:spcBef>
                <a:spcPts val="0"/>
              </a:spcBef>
            </a:pPr>
            <a:r>
              <a:rPr lang="en-US" sz="1800" dirty="0"/>
              <a:t>Mental workload</a:t>
            </a:r>
          </a:p>
          <a:p>
            <a:pPr marL="0" indent="0">
              <a:spcBef>
                <a:spcPts val="0"/>
              </a:spcBef>
              <a:buNone/>
            </a:pPr>
            <a:endParaRPr lang="en-US" sz="2000" dirty="0"/>
          </a:p>
        </p:txBody>
      </p:sp>
      <p:sp>
        <p:nvSpPr>
          <p:cNvPr id="14" name="Freeform 52">
            <a:extLst>
              <a:ext uri="{FF2B5EF4-FFF2-40B4-BE49-F238E27FC236}">
                <a16:creationId xmlns:a16="http://schemas.microsoft.com/office/drawing/2014/main" id="{E6A96A19-21E2-0E76-A525-3E0866FF7ED7}"/>
              </a:ext>
            </a:extLst>
          </p:cNvPr>
          <p:cNvSpPr>
            <a:spLocks/>
          </p:cNvSpPr>
          <p:nvPr/>
        </p:nvSpPr>
        <p:spPr bwMode="auto">
          <a:xfrm>
            <a:off x="2823556" y="2732665"/>
            <a:ext cx="294908" cy="227398"/>
          </a:xfrm>
          <a:custGeom>
            <a:avLst/>
            <a:gdLst>
              <a:gd name="T0" fmla="*/ 9 w 488"/>
              <a:gd name="T1" fmla="*/ 209 h 374"/>
              <a:gd name="T2" fmla="*/ 0 w 488"/>
              <a:gd name="T3" fmla="*/ 187 h 374"/>
              <a:gd name="T4" fmla="*/ 9 w 488"/>
              <a:gd name="T5" fmla="*/ 166 h 374"/>
              <a:gd name="T6" fmla="*/ 52 w 488"/>
              <a:gd name="T7" fmla="*/ 123 h 374"/>
              <a:gd name="T8" fmla="*/ 73 w 488"/>
              <a:gd name="T9" fmla="*/ 114 h 374"/>
              <a:gd name="T10" fmla="*/ 94 w 488"/>
              <a:gd name="T11" fmla="*/ 123 h 374"/>
              <a:gd name="T12" fmla="*/ 187 w 488"/>
              <a:gd name="T13" fmla="*/ 216 h 374"/>
              <a:gd name="T14" fmla="*/ 394 w 488"/>
              <a:gd name="T15" fmla="*/ 9 h 374"/>
              <a:gd name="T16" fmla="*/ 415 w 488"/>
              <a:gd name="T17" fmla="*/ 0 h 374"/>
              <a:gd name="T18" fmla="*/ 436 w 488"/>
              <a:gd name="T19" fmla="*/ 9 h 374"/>
              <a:gd name="T20" fmla="*/ 479 w 488"/>
              <a:gd name="T21" fmla="*/ 52 h 374"/>
              <a:gd name="T22" fmla="*/ 488 w 488"/>
              <a:gd name="T23" fmla="*/ 73 h 374"/>
              <a:gd name="T24" fmla="*/ 479 w 488"/>
              <a:gd name="T25" fmla="*/ 95 h 374"/>
              <a:gd name="T26" fmla="*/ 251 w 488"/>
              <a:gd name="T27" fmla="*/ 323 h 374"/>
              <a:gd name="T28" fmla="*/ 208 w 488"/>
              <a:gd name="T29" fmla="*/ 366 h 374"/>
              <a:gd name="T30" fmla="*/ 187 w 488"/>
              <a:gd name="T31" fmla="*/ 374 h 374"/>
              <a:gd name="T32" fmla="*/ 166 w 488"/>
              <a:gd name="T33" fmla="*/ 366 h 374"/>
              <a:gd name="T34" fmla="*/ 123 w 488"/>
              <a:gd name="T35" fmla="*/ 323 h 374"/>
              <a:gd name="T36" fmla="*/ 9 w 488"/>
              <a:gd name="T37" fmla="*/ 209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8" h="374">
                <a:moveTo>
                  <a:pt x="9" y="209"/>
                </a:moveTo>
                <a:cubicBezTo>
                  <a:pt x="3" y="203"/>
                  <a:pt x="0" y="196"/>
                  <a:pt x="0" y="187"/>
                </a:cubicBezTo>
                <a:cubicBezTo>
                  <a:pt x="0" y="179"/>
                  <a:pt x="3" y="172"/>
                  <a:pt x="9" y="166"/>
                </a:cubicBezTo>
                <a:lnTo>
                  <a:pt x="52" y="123"/>
                </a:lnTo>
                <a:cubicBezTo>
                  <a:pt x="57" y="117"/>
                  <a:pt x="65" y="114"/>
                  <a:pt x="73" y="114"/>
                </a:cubicBezTo>
                <a:cubicBezTo>
                  <a:pt x="81" y="114"/>
                  <a:pt x="88" y="117"/>
                  <a:pt x="94" y="123"/>
                </a:cubicBezTo>
                <a:lnTo>
                  <a:pt x="187" y="216"/>
                </a:lnTo>
                <a:lnTo>
                  <a:pt x="394" y="9"/>
                </a:lnTo>
                <a:cubicBezTo>
                  <a:pt x="399" y="3"/>
                  <a:pt x="407" y="0"/>
                  <a:pt x="415" y="0"/>
                </a:cubicBezTo>
                <a:cubicBezTo>
                  <a:pt x="423" y="0"/>
                  <a:pt x="431" y="3"/>
                  <a:pt x="436" y="9"/>
                </a:cubicBezTo>
                <a:lnTo>
                  <a:pt x="479" y="52"/>
                </a:lnTo>
                <a:cubicBezTo>
                  <a:pt x="485" y="58"/>
                  <a:pt x="488" y="65"/>
                  <a:pt x="488" y="73"/>
                </a:cubicBezTo>
                <a:cubicBezTo>
                  <a:pt x="488" y="82"/>
                  <a:pt x="485" y="89"/>
                  <a:pt x="479" y="95"/>
                </a:cubicBezTo>
                <a:lnTo>
                  <a:pt x="251" y="323"/>
                </a:lnTo>
                <a:lnTo>
                  <a:pt x="208" y="366"/>
                </a:lnTo>
                <a:cubicBezTo>
                  <a:pt x="203" y="372"/>
                  <a:pt x="195" y="374"/>
                  <a:pt x="187" y="374"/>
                </a:cubicBezTo>
                <a:cubicBezTo>
                  <a:pt x="179" y="374"/>
                  <a:pt x="171" y="372"/>
                  <a:pt x="166" y="366"/>
                </a:cubicBezTo>
                <a:lnTo>
                  <a:pt x="123" y="323"/>
                </a:lnTo>
                <a:lnTo>
                  <a:pt x="9" y="20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52">
            <a:extLst>
              <a:ext uri="{FF2B5EF4-FFF2-40B4-BE49-F238E27FC236}">
                <a16:creationId xmlns:a16="http://schemas.microsoft.com/office/drawing/2014/main" id="{9F6569FB-1A06-4D88-7637-490D7F3267BB}"/>
              </a:ext>
            </a:extLst>
          </p:cNvPr>
          <p:cNvSpPr>
            <a:spLocks/>
          </p:cNvSpPr>
          <p:nvPr/>
        </p:nvSpPr>
        <p:spPr bwMode="auto">
          <a:xfrm>
            <a:off x="2823556" y="2998163"/>
            <a:ext cx="297491" cy="227398"/>
          </a:xfrm>
          <a:custGeom>
            <a:avLst/>
            <a:gdLst>
              <a:gd name="T0" fmla="*/ 9 w 488"/>
              <a:gd name="T1" fmla="*/ 209 h 374"/>
              <a:gd name="T2" fmla="*/ 0 w 488"/>
              <a:gd name="T3" fmla="*/ 187 h 374"/>
              <a:gd name="T4" fmla="*/ 9 w 488"/>
              <a:gd name="T5" fmla="*/ 166 h 374"/>
              <a:gd name="T6" fmla="*/ 52 w 488"/>
              <a:gd name="T7" fmla="*/ 123 h 374"/>
              <a:gd name="T8" fmla="*/ 73 w 488"/>
              <a:gd name="T9" fmla="*/ 114 h 374"/>
              <a:gd name="T10" fmla="*/ 94 w 488"/>
              <a:gd name="T11" fmla="*/ 123 h 374"/>
              <a:gd name="T12" fmla="*/ 187 w 488"/>
              <a:gd name="T13" fmla="*/ 216 h 374"/>
              <a:gd name="T14" fmla="*/ 394 w 488"/>
              <a:gd name="T15" fmla="*/ 9 h 374"/>
              <a:gd name="T16" fmla="*/ 415 w 488"/>
              <a:gd name="T17" fmla="*/ 0 h 374"/>
              <a:gd name="T18" fmla="*/ 436 w 488"/>
              <a:gd name="T19" fmla="*/ 9 h 374"/>
              <a:gd name="T20" fmla="*/ 479 w 488"/>
              <a:gd name="T21" fmla="*/ 52 h 374"/>
              <a:gd name="T22" fmla="*/ 488 w 488"/>
              <a:gd name="T23" fmla="*/ 73 h 374"/>
              <a:gd name="T24" fmla="*/ 479 w 488"/>
              <a:gd name="T25" fmla="*/ 95 h 374"/>
              <a:gd name="T26" fmla="*/ 251 w 488"/>
              <a:gd name="T27" fmla="*/ 323 h 374"/>
              <a:gd name="T28" fmla="*/ 208 w 488"/>
              <a:gd name="T29" fmla="*/ 366 h 374"/>
              <a:gd name="T30" fmla="*/ 187 w 488"/>
              <a:gd name="T31" fmla="*/ 374 h 374"/>
              <a:gd name="T32" fmla="*/ 166 w 488"/>
              <a:gd name="T33" fmla="*/ 366 h 374"/>
              <a:gd name="T34" fmla="*/ 123 w 488"/>
              <a:gd name="T35" fmla="*/ 323 h 374"/>
              <a:gd name="T36" fmla="*/ 9 w 488"/>
              <a:gd name="T37" fmla="*/ 209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8" h="374">
                <a:moveTo>
                  <a:pt x="9" y="209"/>
                </a:moveTo>
                <a:cubicBezTo>
                  <a:pt x="3" y="203"/>
                  <a:pt x="0" y="196"/>
                  <a:pt x="0" y="187"/>
                </a:cubicBezTo>
                <a:cubicBezTo>
                  <a:pt x="0" y="179"/>
                  <a:pt x="3" y="172"/>
                  <a:pt x="9" y="166"/>
                </a:cubicBezTo>
                <a:lnTo>
                  <a:pt x="52" y="123"/>
                </a:lnTo>
                <a:cubicBezTo>
                  <a:pt x="57" y="117"/>
                  <a:pt x="65" y="114"/>
                  <a:pt x="73" y="114"/>
                </a:cubicBezTo>
                <a:cubicBezTo>
                  <a:pt x="81" y="114"/>
                  <a:pt x="88" y="117"/>
                  <a:pt x="94" y="123"/>
                </a:cubicBezTo>
                <a:lnTo>
                  <a:pt x="187" y="216"/>
                </a:lnTo>
                <a:lnTo>
                  <a:pt x="394" y="9"/>
                </a:lnTo>
                <a:cubicBezTo>
                  <a:pt x="399" y="3"/>
                  <a:pt x="407" y="0"/>
                  <a:pt x="415" y="0"/>
                </a:cubicBezTo>
                <a:cubicBezTo>
                  <a:pt x="423" y="0"/>
                  <a:pt x="431" y="3"/>
                  <a:pt x="436" y="9"/>
                </a:cubicBezTo>
                <a:lnTo>
                  <a:pt x="479" y="52"/>
                </a:lnTo>
                <a:cubicBezTo>
                  <a:pt x="485" y="58"/>
                  <a:pt x="488" y="65"/>
                  <a:pt x="488" y="73"/>
                </a:cubicBezTo>
                <a:cubicBezTo>
                  <a:pt x="488" y="82"/>
                  <a:pt x="485" y="89"/>
                  <a:pt x="479" y="95"/>
                </a:cubicBezTo>
                <a:lnTo>
                  <a:pt x="251" y="323"/>
                </a:lnTo>
                <a:lnTo>
                  <a:pt x="208" y="366"/>
                </a:lnTo>
                <a:cubicBezTo>
                  <a:pt x="203" y="372"/>
                  <a:pt x="195" y="374"/>
                  <a:pt x="187" y="374"/>
                </a:cubicBezTo>
                <a:cubicBezTo>
                  <a:pt x="179" y="374"/>
                  <a:pt x="171" y="372"/>
                  <a:pt x="166" y="366"/>
                </a:cubicBezTo>
                <a:lnTo>
                  <a:pt x="123" y="323"/>
                </a:lnTo>
                <a:lnTo>
                  <a:pt x="9" y="20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Google Shape;237;p31">
            <a:extLst>
              <a:ext uri="{FF2B5EF4-FFF2-40B4-BE49-F238E27FC236}">
                <a16:creationId xmlns:a16="http://schemas.microsoft.com/office/drawing/2014/main" id="{249BA4E1-1244-E729-BEED-852BECD84F58}"/>
              </a:ext>
            </a:extLst>
          </p:cNvPr>
          <p:cNvSpPr txBox="1">
            <a:spLocks/>
          </p:cNvSpPr>
          <p:nvPr/>
        </p:nvSpPr>
        <p:spPr>
          <a:xfrm>
            <a:off x="334950" y="3429000"/>
            <a:ext cx="2303475" cy="5694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Sound</a:t>
            </a:r>
          </a:p>
          <a:p>
            <a:pPr marL="355600" indent="-355600">
              <a:spcBef>
                <a:spcPts val="0"/>
              </a:spcBef>
            </a:pPr>
            <a:r>
              <a:rPr lang="en-US" sz="1800" dirty="0"/>
              <a:t>Furniture position</a:t>
            </a:r>
          </a:p>
          <a:p>
            <a:pPr marL="355600" indent="-355600">
              <a:spcBef>
                <a:spcPts val="0"/>
              </a:spcBef>
            </a:pPr>
            <a:r>
              <a:rPr lang="en-US" sz="1800" dirty="0"/>
              <a:t>Collision detection</a:t>
            </a:r>
            <a:endParaRPr lang="en-US" sz="2000" dirty="0"/>
          </a:p>
        </p:txBody>
      </p:sp>
      <p:sp>
        <p:nvSpPr>
          <p:cNvPr id="19" name="Freeform 53">
            <a:extLst>
              <a:ext uri="{FF2B5EF4-FFF2-40B4-BE49-F238E27FC236}">
                <a16:creationId xmlns:a16="http://schemas.microsoft.com/office/drawing/2014/main" id="{B715EB14-4C73-0FB9-B415-1C8E0BF5BF39}"/>
              </a:ext>
            </a:extLst>
          </p:cNvPr>
          <p:cNvSpPr>
            <a:spLocks/>
          </p:cNvSpPr>
          <p:nvPr/>
        </p:nvSpPr>
        <p:spPr bwMode="auto">
          <a:xfrm>
            <a:off x="2823556" y="3509305"/>
            <a:ext cx="294908" cy="227398"/>
          </a:xfrm>
          <a:custGeom>
            <a:avLst/>
            <a:gdLst>
              <a:gd name="T0" fmla="*/ 9 w 374"/>
              <a:gd name="T1" fmla="*/ 323 h 375"/>
              <a:gd name="T2" fmla="*/ 0 w 374"/>
              <a:gd name="T3" fmla="*/ 301 h 375"/>
              <a:gd name="T4" fmla="*/ 9 w 374"/>
              <a:gd name="T5" fmla="*/ 280 h 375"/>
              <a:gd name="T6" fmla="*/ 101 w 374"/>
              <a:gd name="T7" fmla="*/ 187 h 375"/>
              <a:gd name="T8" fmla="*/ 9 w 374"/>
              <a:gd name="T9" fmla="*/ 95 h 375"/>
              <a:gd name="T10" fmla="*/ 0 w 374"/>
              <a:gd name="T11" fmla="*/ 73 h 375"/>
              <a:gd name="T12" fmla="*/ 9 w 374"/>
              <a:gd name="T13" fmla="*/ 52 h 375"/>
              <a:gd name="T14" fmla="*/ 51 w 374"/>
              <a:gd name="T15" fmla="*/ 9 h 375"/>
              <a:gd name="T16" fmla="*/ 73 w 374"/>
              <a:gd name="T17" fmla="*/ 0 h 375"/>
              <a:gd name="T18" fmla="*/ 94 w 374"/>
              <a:gd name="T19" fmla="*/ 9 h 375"/>
              <a:gd name="T20" fmla="*/ 187 w 374"/>
              <a:gd name="T21" fmla="*/ 102 h 375"/>
              <a:gd name="T22" fmla="*/ 280 w 374"/>
              <a:gd name="T23" fmla="*/ 9 h 375"/>
              <a:gd name="T24" fmla="*/ 301 w 374"/>
              <a:gd name="T25" fmla="*/ 0 h 375"/>
              <a:gd name="T26" fmla="*/ 322 w 374"/>
              <a:gd name="T27" fmla="*/ 9 h 375"/>
              <a:gd name="T28" fmla="*/ 365 w 374"/>
              <a:gd name="T29" fmla="*/ 52 h 375"/>
              <a:gd name="T30" fmla="*/ 374 w 374"/>
              <a:gd name="T31" fmla="*/ 73 h 375"/>
              <a:gd name="T32" fmla="*/ 365 w 374"/>
              <a:gd name="T33" fmla="*/ 95 h 375"/>
              <a:gd name="T34" fmla="*/ 273 w 374"/>
              <a:gd name="T35" fmla="*/ 187 h 375"/>
              <a:gd name="T36" fmla="*/ 365 w 374"/>
              <a:gd name="T37" fmla="*/ 280 h 375"/>
              <a:gd name="T38" fmla="*/ 374 w 374"/>
              <a:gd name="T39" fmla="*/ 301 h 375"/>
              <a:gd name="T40" fmla="*/ 365 w 374"/>
              <a:gd name="T41" fmla="*/ 323 h 375"/>
              <a:gd name="T42" fmla="*/ 322 w 374"/>
              <a:gd name="T43" fmla="*/ 366 h 375"/>
              <a:gd name="T44" fmla="*/ 301 w 374"/>
              <a:gd name="T45" fmla="*/ 375 h 375"/>
              <a:gd name="T46" fmla="*/ 280 w 374"/>
              <a:gd name="T47" fmla="*/ 366 h 375"/>
              <a:gd name="T48" fmla="*/ 187 w 374"/>
              <a:gd name="T49" fmla="*/ 273 h 375"/>
              <a:gd name="T50" fmla="*/ 94 w 374"/>
              <a:gd name="T51" fmla="*/ 366 h 375"/>
              <a:gd name="T52" fmla="*/ 73 w 374"/>
              <a:gd name="T53" fmla="*/ 375 h 375"/>
              <a:gd name="T54" fmla="*/ 51 w 374"/>
              <a:gd name="T55" fmla="*/ 366 h 375"/>
              <a:gd name="T56" fmla="*/ 9 w 374"/>
              <a:gd name="T57" fmla="*/ 32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375">
                <a:moveTo>
                  <a:pt x="9" y="323"/>
                </a:moveTo>
                <a:cubicBezTo>
                  <a:pt x="3" y="317"/>
                  <a:pt x="0" y="310"/>
                  <a:pt x="0" y="301"/>
                </a:cubicBezTo>
                <a:cubicBezTo>
                  <a:pt x="0" y="293"/>
                  <a:pt x="3" y="286"/>
                  <a:pt x="9" y="280"/>
                </a:cubicBezTo>
                <a:lnTo>
                  <a:pt x="101" y="187"/>
                </a:lnTo>
                <a:lnTo>
                  <a:pt x="9" y="95"/>
                </a:lnTo>
                <a:cubicBezTo>
                  <a:pt x="3" y="89"/>
                  <a:pt x="0" y="82"/>
                  <a:pt x="0" y="73"/>
                </a:cubicBezTo>
                <a:cubicBezTo>
                  <a:pt x="0" y="65"/>
                  <a:pt x="3" y="58"/>
                  <a:pt x="9" y="52"/>
                </a:cubicBezTo>
                <a:lnTo>
                  <a:pt x="51" y="9"/>
                </a:lnTo>
                <a:cubicBezTo>
                  <a:pt x="57" y="3"/>
                  <a:pt x="65" y="0"/>
                  <a:pt x="73" y="0"/>
                </a:cubicBezTo>
                <a:cubicBezTo>
                  <a:pt x="81" y="0"/>
                  <a:pt x="88" y="3"/>
                  <a:pt x="94" y="9"/>
                </a:cubicBezTo>
                <a:lnTo>
                  <a:pt x="187" y="102"/>
                </a:lnTo>
                <a:lnTo>
                  <a:pt x="280" y="9"/>
                </a:lnTo>
                <a:cubicBezTo>
                  <a:pt x="285" y="3"/>
                  <a:pt x="293" y="0"/>
                  <a:pt x="301" y="0"/>
                </a:cubicBezTo>
                <a:cubicBezTo>
                  <a:pt x="309" y="0"/>
                  <a:pt x="317" y="3"/>
                  <a:pt x="322" y="9"/>
                </a:cubicBezTo>
                <a:lnTo>
                  <a:pt x="365" y="52"/>
                </a:lnTo>
                <a:cubicBezTo>
                  <a:pt x="371" y="58"/>
                  <a:pt x="374" y="65"/>
                  <a:pt x="374" y="73"/>
                </a:cubicBezTo>
                <a:cubicBezTo>
                  <a:pt x="374" y="82"/>
                  <a:pt x="371" y="89"/>
                  <a:pt x="365" y="95"/>
                </a:cubicBezTo>
                <a:lnTo>
                  <a:pt x="273" y="187"/>
                </a:lnTo>
                <a:lnTo>
                  <a:pt x="365" y="280"/>
                </a:lnTo>
                <a:cubicBezTo>
                  <a:pt x="371" y="286"/>
                  <a:pt x="374" y="293"/>
                  <a:pt x="374" y="301"/>
                </a:cubicBezTo>
                <a:cubicBezTo>
                  <a:pt x="374" y="310"/>
                  <a:pt x="371" y="317"/>
                  <a:pt x="365" y="323"/>
                </a:cubicBezTo>
                <a:lnTo>
                  <a:pt x="322" y="366"/>
                </a:lnTo>
                <a:cubicBezTo>
                  <a:pt x="317" y="372"/>
                  <a:pt x="309" y="375"/>
                  <a:pt x="301" y="375"/>
                </a:cubicBezTo>
                <a:cubicBezTo>
                  <a:pt x="293" y="375"/>
                  <a:pt x="285" y="372"/>
                  <a:pt x="280" y="366"/>
                </a:cubicBezTo>
                <a:lnTo>
                  <a:pt x="187" y="273"/>
                </a:lnTo>
                <a:lnTo>
                  <a:pt x="94" y="366"/>
                </a:lnTo>
                <a:cubicBezTo>
                  <a:pt x="88" y="372"/>
                  <a:pt x="81" y="375"/>
                  <a:pt x="73" y="375"/>
                </a:cubicBezTo>
                <a:cubicBezTo>
                  <a:pt x="65" y="375"/>
                  <a:pt x="57" y="372"/>
                  <a:pt x="51" y="366"/>
                </a:cubicBezTo>
                <a:lnTo>
                  <a:pt x="9" y="32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53">
            <a:extLst>
              <a:ext uri="{FF2B5EF4-FFF2-40B4-BE49-F238E27FC236}">
                <a16:creationId xmlns:a16="http://schemas.microsoft.com/office/drawing/2014/main" id="{A4C0DCE6-DB6A-E7AC-2269-0170FF855449}"/>
              </a:ext>
            </a:extLst>
          </p:cNvPr>
          <p:cNvSpPr>
            <a:spLocks/>
          </p:cNvSpPr>
          <p:nvPr/>
        </p:nvSpPr>
        <p:spPr bwMode="auto">
          <a:xfrm>
            <a:off x="2823556" y="3767136"/>
            <a:ext cx="294908" cy="227398"/>
          </a:xfrm>
          <a:custGeom>
            <a:avLst/>
            <a:gdLst>
              <a:gd name="T0" fmla="*/ 9 w 374"/>
              <a:gd name="T1" fmla="*/ 323 h 375"/>
              <a:gd name="T2" fmla="*/ 0 w 374"/>
              <a:gd name="T3" fmla="*/ 301 h 375"/>
              <a:gd name="T4" fmla="*/ 9 w 374"/>
              <a:gd name="T5" fmla="*/ 280 h 375"/>
              <a:gd name="T6" fmla="*/ 101 w 374"/>
              <a:gd name="T7" fmla="*/ 187 h 375"/>
              <a:gd name="T8" fmla="*/ 9 w 374"/>
              <a:gd name="T9" fmla="*/ 95 h 375"/>
              <a:gd name="T10" fmla="*/ 0 w 374"/>
              <a:gd name="T11" fmla="*/ 73 h 375"/>
              <a:gd name="T12" fmla="*/ 9 w 374"/>
              <a:gd name="T13" fmla="*/ 52 h 375"/>
              <a:gd name="T14" fmla="*/ 51 w 374"/>
              <a:gd name="T15" fmla="*/ 9 h 375"/>
              <a:gd name="T16" fmla="*/ 73 w 374"/>
              <a:gd name="T17" fmla="*/ 0 h 375"/>
              <a:gd name="T18" fmla="*/ 94 w 374"/>
              <a:gd name="T19" fmla="*/ 9 h 375"/>
              <a:gd name="T20" fmla="*/ 187 w 374"/>
              <a:gd name="T21" fmla="*/ 102 h 375"/>
              <a:gd name="T22" fmla="*/ 280 w 374"/>
              <a:gd name="T23" fmla="*/ 9 h 375"/>
              <a:gd name="T24" fmla="*/ 301 w 374"/>
              <a:gd name="T25" fmla="*/ 0 h 375"/>
              <a:gd name="T26" fmla="*/ 322 w 374"/>
              <a:gd name="T27" fmla="*/ 9 h 375"/>
              <a:gd name="T28" fmla="*/ 365 w 374"/>
              <a:gd name="T29" fmla="*/ 52 h 375"/>
              <a:gd name="T30" fmla="*/ 374 w 374"/>
              <a:gd name="T31" fmla="*/ 73 h 375"/>
              <a:gd name="T32" fmla="*/ 365 w 374"/>
              <a:gd name="T33" fmla="*/ 95 h 375"/>
              <a:gd name="T34" fmla="*/ 273 w 374"/>
              <a:gd name="T35" fmla="*/ 187 h 375"/>
              <a:gd name="T36" fmla="*/ 365 w 374"/>
              <a:gd name="T37" fmla="*/ 280 h 375"/>
              <a:gd name="T38" fmla="*/ 374 w 374"/>
              <a:gd name="T39" fmla="*/ 301 h 375"/>
              <a:gd name="T40" fmla="*/ 365 w 374"/>
              <a:gd name="T41" fmla="*/ 323 h 375"/>
              <a:gd name="T42" fmla="*/ 322 w 374"/>
              <a:gd name="T43" fmla="*/ 366 h 375"/>
              <a:gd name="T44" fmla="*/ 301 w 374"/>
              <a:gd name="T45" fmla="*/ 375 h 375"/>
              <a:gd name="T46" fmla="*/ 280 w 374"/>
              <a:gd name="T47" fmla="*/ 366 h 375"/>
              <a:gd name="T48" fmla="*/ 187 w 374"/>
              <a:gd name="T49" fmla="*/ 273 h 375"/>
              <a:gd name="T50" fmla="*/ 94 w 374"/>
              <a:gd name="T51" fmla="*/ 366 h 375"/>
              <a:gd name="T52" fmla="*/ 73 w 374"/>
              <a:gd name="T53" fmla="*/ 375 h 375"/>
              <a:gd name="T54" fmla="*/ 51 w 374"/>
              <a:gd name="T55" fmla="*/ 366 h 375"/>
              <a:gd name="T56" fmla="*/ 9 w 374"/>
              <a:gd name="T57" fmla="*/ 32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375">
                <a:moveTo>
                  <a:pt x="9" y="323"/>
                </a:moveTo>
                <a:cubicBezTo>
                  <a:pt x="3" y="317"/>
                  <a:pt x="0" y="310"/>
                  <a:pt x="0" y="301"/>
                </a:cubicBezTo>
                <a:cubicBezTo>
                  <a:pt x="0" y="293"/>
                  <a:pt x="3" y="286"/>
                  <a:pt x="9" y="280"/>
                </a:cubicBezTo>
                <a:lnTo>
                  <a:pt x="101" y="187"/>
                </a:lnTo>
                <a:lnTo>
                  <a:pt x="9" y="95"/>
                </a:lnTo>
                <a:cubicBezTo>
                  <a:pt x="3" y="89"/>
                  <a:pt x="0" y="82"/>
                  <a:pt x="0" y="73"/>
                </a:cubicBezTo>
                <a:cubicBezTo>
                  <a:pt x="0" y="65"/>
                  <a:pt x="3" y="58"/>
                  <a:pt x="9" y="52"/>
                </a:cubicBezTo>
                <a:lnTo>
                  <a:pt x="51" y="9"/>
                </a:lnTo>
                <a:cubicBezTo>
                  <a:pt x="57" y="3"/>
                  <a:pt x="65" y="0"/>
                  <a:pt x="73" y="0"/>
                </a:cubicBezTo>
                <a:cubicBezTo>
                  <a:pt x="81" y="0"/>
                  <a:pt x="88" y="3"/>
                  <a:pt x="94" y="9"/>
                </a:cubicBezTo>
                <a:lnTo>
                  <a:pt x="187" y="102"/>
                </a:lnTo>
                <a:lnTo>
                  <a:pt x="280" y="9"/>
                </a:lnTo>
                <a:cubicBezTo>
                  <a:pt x="285" y="3"/>
                  <a:pt x="293" y="0"/>
                  <a:pt x="301" y="0"/>
                </a:cubicBezTo>
                <a:cubicBezTo>
                  <a:pt x="309" y="0"/>
                  <a:pt x="317" y="3"/>
                  <a:pt x="322" y="9"/>
                </a:cubicBezTo>
                <a:lnTo>
                  <a:pt x="365" y="52"/>
                </a:lnTo>
                <a:cubicBezTo>
                  <a:pt x="371" y="58"/>
                  <a:pt x="374" y="65"/>
                  <a:pt x="374" y="73"/>
                </a:cubicBezTo>
                <a:cubicBezTo>
                  <a:pt x="374" y="82"/>
                  <a:pt x="371" y="89"/>
                  <a:pt x="365" y="95"/>
                </a:cubicBezTo>
                <a:lnTo>
                  <a:pt x="273" y="187"/>
                </a:lnTo>
                <a:lnTo>
                  <a:pt x="365" y="280"/>
                </a:lnTo>
                <a:cubicBezTo>
                  <a:pt x="371" y="286"/>
                  <a:pt x="374" y="293"/>
                  <a:pt x="374" y="301"/>
                </a:cubicBezTo>
                <a:cubicBezTo>
                  <a:pt x="374" y="310"/>
                  <a:pt x="371" y="317"/>
                  <a:pt x="365" y="323"/>
                </a:cubicBezTo>
                <a:lnTo>
                  <a:pt x="322" y="366"/>
                </a:lnTo>
                <a:cubicBezTo>
                  <a:pt x="317" y="372"/>
                  <a:pt x="309" y="375"/>
                  <a:pt x="301" y="375"/>
                </a:cubicBezTo>
                <a:cubicBezTo>
                  <a:pt x="293" y="375"/>
                  <a:pt x="285" y="372"/>
                  <a:pt x="280" y="366"/>
                </a:cubicBezTo>
                <a:lnTo>
                  <a:pt x="187" y="273"/>
                </a:lnTo>
                <a:lnTo>
                  <a:pt x="94" y="366"/>
                </a:lnTo>
                <a:cubicBezTo>
                  <a:pt x="88" y="372"/>
                  <a:pt x="81" y="375"/>
                  <a:pt x="73" y="375"/>
                </a:cubicBezTo>
                <a:cubicBezTo>
                  <a:pt x="65" y="375"/>
                  <a:pt x="57" y="372"/>
                  <a:pt x="51" y="366"/>
                </a:cubicBezTo>
                <a:lnTo>
                  <a:pt x="9" y="32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53">
            <a:extLst>
              <a:ext uri="{FF2B5EF4-FFF2-40B4-BE49-F238E27FC236}">
                <a16:creationId xmlns:a16="http://schemas.microsoft.com/office/drawing/2014/main" id="{7C87F324-2B87-6DE0-371E-371F80F4EC55}"/>
              </a:ext>
            </a:extLst>
          </p:cNvPr>
          <p:cNvSpPr>
            <a:spLocks/>
          </p:cNvSpPr>
          <p:nvPr/>
        </p:nvSpPr>
        <p:spPr bwMode="auto">
          <a:xfrm>
            <a:off x="2823556" y="4024967"/>
            <a:ext cx="294908" cy="227398"/>
          </a:xfrm>
          <a:custGeom>
            <a:avLst/>
            <a:gdLst>
              <a:gd name="T0" fmla="*/ 9 w 374"/>
              <a:gd name="T1" fmla="*/ 323 h 375"/>
              <a:gd name="T2" fmla="*/ 0 w 374"/>
              <a:gd name="T3" fmla="*/ 301 h 375"/>
              <a:gd name="T4" fmla="*/ 9 w 374"/>
              <a:gd name="T5" fmla="*/ 280 h 375"/>
              <a:gd name="T6" fmla="*/ 101 w 374"/>
              <a:gd name="T7" fmla="*/ 187 h 375"/>
              <a:gd name="T8" fmla="*/ 9 w 374"/>
              <a:gd name="T9" fmla="*/ 95 h 375"/>
              <a:gd name="T10" fmla="*/ 0 w 374"/>
              <a:gd name="T11" fmla="*/ 73 h 375"/>
              <a:gd name="T12" fmla="*/ 9 w 374"/>
              <a:gd name="T13" fmla="*/ 52 h 375"/>
              <a:gd name="T14" fmla="*/ 51 w 374"/>
              <a:gd name="T15" fmla="*/ 9 h 375"/>
              <a:gd name="T16" fmla="*/ 73 w 374"/>
              <a:gd name="T17" fmla="*/ 0 h 375"/>
              <a:gd name="T18" fmla="*/ 94 w 374"/>
              <a:gd name="T19" fmla="*/ 9 h 375"/>
              <a:gd name="T20" fmla="*/ 187 w 374"/>
              <a:gd name="T21" fmla="*/ 102 h 375"/>
              <a:gd name="T22" fmla="*/ 280 w 374"/>
              <a:gd name="T23" fmla="*/ 9 h 375"/>
              <a:gd name="T24" fmla="*/ 301 w 374"/>
              <a:gd name="T25" fmla="*/ 0 h 375"/>
              <a:gd name="T26" fmla="*/ 322 w 374"/>
              <a:gd name="T27" fmla="*/ 9 h 375"/>
              <a:gd name="T28" fmla="*/ 365 w 374"/>
              <a:gd name="T29" fmla="*/ 52 h 375"/>
              <a:gd name="T30" fmla="*/ 374 w 374"/>
              <a:gd name="T31" fmla="*/ 73 h 375"/>
              <a:gd name="T32" fmla="*/ 365 w 374"/>
              <a:gd name="T33" fmla="*/ 95 h 375"/>
              <a:gd name="T34" fmla="*/ 273 w 374"/>
              <a:gd name="T35" fmla="*/ 187 h 375"/>
              <a:gd name="T36" fmla="*/ 365 w 374"/>
              <a:gd name="T37" fmla="*/ 280 h 375"/>
              <a:gd name="T38" fmla="*/ 374 w 374"/>
              <a:gd name="T39" fmla="*/ 301 h 375"/>
              <a:gd name="T40" fmla="*/ 365 w 374"/>
              <a:gd name="T41" fmla="*/ 323 h 375"/>
              <a:gd name="T42" fmla="*/ 322 w 374"/>
              <a:gd name="T43" fmla="*/ 366 h 375"/>
              <a:gd name="T44" fmla="*/ 301 w 374"/>
              <a:gd name="T45" fmla="*/ 375 h 375"/>
              <a:gd name="T46" fmla="*/ 280 w 374"/>
              <a:gd name="T47" fmla="*/ 366 h 375"/>
              <a:gd name="T48" fmla="*/ 187 w 374"/>
              <a:gd name="T49" fmla="*/ 273 h 375"/>
              <a:gd name="T50" fmla="*/ 94 w 374"/>
              <a:gd name="T51" fmla="*/ 366 h 375"/>
              <a:gd name="T52" fmla="*/ 73 w 374"/>
              <a:gd name="T53" fmla="*/ 375 h 375"/>
              <a:gd name="T54" fmla="*/ 51 w 374"/>
              <a:gd name="T55" fmla="*/ 366 h 375"/>
              <a:gd name="T56" fmla="*/ 9 w 374"/>
              <a:gd name="T57" fmla="*/ 32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375">
                <a:moveTo>
                  <a:pt x="9" y="323"/>
                </a:moveTo>
                <a:cubicBezTo>
                  <a:pt x="3" y="317"/>
                  <a:pt x="0" y="310"/>
                  <a:pt x="0" y="301"/>
                </a:cubicBezTo>
                <a:cubicBezTo>
                  <a:pt x="0" y="293"/>
                  <a:pt x="3" y="286"/>
                  <a:pt x="9" y="280"/>
                </a:cubicBezTo>
                <a:lnTo>
                  <a:pt x="101" y="187"/>
                </a:lnTo>
                <a:lnTo>
                  <a:pt x="9" y="95"/>
                </a:lnTo>
                <a:cubicBezTo>
                  <a:pt x="3" y="89"/>
                  <a:pt x="0" y="82"/>
                  <a:pt x="0" y="73"/>
                </a:cubicBezTo>
                <a:cubicBezTo>
                  <a:pt x="0" y="65"/>
                  <a:pt x="3" y="58"/>
                  <a:pt x="9" y="52"/>
                </a:cubicBezTo>
                <a:lnTo>
                  <a:pt x="51" y="9"/>
                </a:lnTo>
                <a:cubicBezTo>
                  <a:pt x="57" y="3"/>
                  <a:pt x="65" y="0"/>
                  <a:pt x="73" y="0"/>
                </a:cubicBezTo>
                <a:cubicBezTo>
                  <a:pt x="81" y="0"/>
                  <a:pt x="88" y="3"/>
                  <a:pt x="94" y="9"/>
                </a:cubicBezTo>
                <a:lnTo>
                  <a:pt x="187" y="102"/>
                </a:lnTo>
                <a:lnTo>
                  <a:pt x="280" y="9"/>
                </a:lnTo>
                <a:cubicBezTo>
                  <a:pt x="285" y="3"/>
                  <a:pt x="293" y="0"/>
                  <a:pt x="301" y="0"/>
                </a:cubicBezTo>
                <a:cubicBezTo>
                  <a:pt x="309" y="0"/>
                  <a:pt x="317" y="3"/>
                  <a:pt x="322" y="9"/>
                </a:cubicBezTo>
                <a:lnTo>
                  <a:pt x="365" y="52"/>
                </a:lnTo>
                <a:cubicBezTo>
                  <a:pt x="371" y="58"/>
                  <a:pt x="374" y="65"/>
                  <a:pt x="374" y="73"/>
                </a:cubicBezTo>
                <a:cubicBezTo>
                  <a:pt x="374" y="82"/>
                  <a:pt x="371" y="89"/>
                  <a:pt x="365" y="95"/>
                </a:cubicBezTo>
                <a:lnTo>
                  <a:pt x="273" y="187"/>
                </a:lnTo>
                <a:lnTo>
                  <a:pt x="365" y="280"/>
                </a:lnTo>
                <a:cubicBezTo>
                  <a:pt x="371" y="286"/>
                  <a:pt x="374" y="293"/>
                  <a:pt x="374" y="301"/>
                </a:cubicBezTo>
                <a:cubicBezTo>
                  <a:pt x="374" y="310"/>
                  <a:pt x="371" y="317"/>
                  <a:pt x="365" y="323"/>
                </a:cubicBezTo>
                <a:lnTo>
                  <a:pt x="322" y="366"/>
                </a:lnTo>
                <a:cubicBezTo>
                  <a:pt x="317" y="372"/>
                  <a:pt x="309" y="375"/>
                  <a:pt x="301" y="375"/>
                </a:cubicBezTo>
                <a:cubicBezTo>
                  <a:pt x="293" y="375"/>
                  <a:pt x="285" y="372"/>
                  <a:pt x="280" y="366"/>
                </a:cubicBezTo>
                <a:lnTo>
                  <a:pt x="187" y="273"/>
                </a:lnTo>
                <a:lnTo>
                  <a:pt x="94" y="366"/>
                </a:lnTo>
                <a:cubicBezTo>
                  <a:pt x="88" y="372"/>
                  <a:pt x="81" y="375"/>
                  <a:pt x="73" y="375"/>
                </a:cubicBezTo>
                <a:cubicBezTo>
                  <a:pt x="65" y="375"/>
                  <a:pt x="57" y="372"/>
                  <a:pt x="51" y="366"/>
                </a:cubicBezTo>
                <a:lnTo>
                  <a:pt x="9" y="32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Google Shape;237;p31">
            <a:extLst>
              <a:ext uri="{FF2B5EF4-FFF2-40B4-BE49-F238E27FC236}">
                <a16:creationId xmlns:a16="http://schemas.microsoft.com/office/drawing/2014/main" id="{C6082B3A-C383-BDE8-5B48-2AA0A6484DCC}"/>
              </a:ext>
            </a:extLst>
          </p:cNvPr>
          <p:cNvSpPr txBox="1">
            <a:spLocks/>
          </p:cNvSpPr>
          <p:nvPr/>
        </p:nvSpPr>
        <p:spPr>
          <a:xfrm>
            <a:off x="334949" y="4355946"/>
            <a:ext cx="2488607" cy="5694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Physiological sensors</a:t>
            </a:r>
          </a:p>
          <a:p>
            <a:pPr marL="355600" indent="-355600">
              <a:spcBef>
                <a:spcPts val="0"/>
              </a:spcBef>
            </a:pPr>
            <a:endParaRPr lang="en-US" sz="1800" dirty="0"/>
          </a:p>
        </p:txBody>
      </p:sp>
      <p:sp>
        <p:nvSpPr>
          <p:cNvPr id="23" name="Google Shape;237;p31">
            <a:extLst>
              <a:ext uri="{FF2B5EF4-FFF2-40B4-BE49-F238E27FC236}">
                <a16:creationId xmlns:a16="http://schemas.microsoft.com/office/drawing/2014/main" id="{9BC4D57A-3309-C706-4E9B-F17580D78338}"/>
              </a:ext>
            </a:extLst>
          </p:cNvPr>
          <p:cNvSpPr txBox="1">
            <a:spLocks/>
          </p:cNvSpPr>
          <p:nvPr/>
        </p:nvSpPr>
        <p:spPr>
          <a:xfrm>
            <a:off x="334949" y="4852533"/>
            <a:ext cx="2488607" cy="5694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Low number of participants</a:t>
            </a:r>
          </a:p>
          <a:p>
            <a:pPr marL="0" indent="0">
              <a:spcBef>
                <a:spcPts val="0"/>
              </a:spcBef>
              <a:buNone/>
            </a:pPr>
            <a:endParaRPr lang="en-US" sz="2000" dirty="0"/>
          </a:p>
        </p:txBody>
      </p:sp>
      <p:sp>
        <p:nvSpPr>
          <p:cNvPr id="24" name="Freeform 305">
            <a:extLst>
              <a:ext uri="{FF2B5EF4-FFF2-40B4-BE49-F238E27FC236}">
                <a16:creationId xmlns:a16="http://schemas.microsoft.com/office/drawing/2014/main" id="{BF53A2C6-705E-F036-88CE-A78150B27E9F}"/>
              </a:ext>
            </a:extLst>
          </p:cNvPr>
          <p:cNvSpPr>
            <a:spLocks noEditPoints="1"/>
          </p:cNvSpPr>
          <p:nvPr/>
        </p:nvSpPr>
        <p:spPr bwMode="auto">
          <a:xfrm>
            <a:off x="2863168" y="4435365"/>
            <a:ext cx="167203" cy="227398"/>
          </a:xfrm>
          <a:custGeom>
            <a:avLst/>
            <a:gdLst>
              <a:gd name="T0" fmla="*/ 5 w 291"/>
              <a:gd name="T1" fmla="*/ 100 h 403"/>
              <a:gd name="T2" fmla="*/ 1 w 291"/>
              <a:gd name="T3" fmla="*/ 92 h 403"/>
              <a:gd name="T4" fmla="*/ 2 w 291"/>
              <a:gd name="T5" fmla="*/ 83 h 403"/>
              <a:gd name="T6" fmla="*/ 148 w 291"/>
              <a:gd name="T7" fmla="*/ 0 h 403"/>
              <a:gd name="T8" fmla="*/ 199 w 291"/>
              <a:gd name="T9" fmla="*/ 9 h 403"/>
              <a:gd name="T10" fmla="*/ 245 w 291"/>
              <a:gd name="T11" fmla="*/ 36 h 403"/>
              <a:gd name="T12" fmla="*/ 279 w 291"/>
              <a:gd name="T13" fmla="*/ 76 h 403"/>
              <a:gd name="T14" fmla="*/ 291 w 291"/>
              <a:gd name="T15" fmla="*/ 126 h 403"/>
              <a:gd name="T16" fmla="*/ 287 w 291"/>
              <a:gd name="T17" fmla="*/ 157 h 403"/>
              <a:gd name="T18" fmla="*/ 276 w 291"/>
              <a:gd name="T19" fmla="*/ 182 h 403"/>
              <a:gd name="T20" fmla="*/ 258 w 291"/>
              <a:gd name="T21" fmla="*/ 200 h 403"/>
              <a:gd name="T22" fmla="*/ 240 w 291"/>
              <a:gd name="T23" fmla="*/ 214 h 403"/>
              <a:gd name="T24" fmla="*/ 221 w 291"/>
              <a:gd name="T25" fmla="*/ 225 h 403"/>
              <a:gd name="T26" fmla="*/ 199 w 291"/>
              <a:gd name="T27" fmla="*/ 246 h 403"/>
              <a:gd name="T28" fmla="*/ 191 w 291"/>
              <a:gd name="T29" fmla="*/ 267 h 403"/>
              <a:gd name="T30" fmla="*/ 187 w 291"/>
              <a:gd name="T31" fmla="*/ 277 h 403"/>
              <a:gd name="T32" fmla="*/ 178 w 291"/>
              <a:gd name="T33" fmla="*/ 282 h 403"/>
              <a:gd name="T34" fmla="*/ 102 w 291"/>
              <a:gd name="T35" fmla="*/ 282 h 403"/>
              <a:gd name="T36" fmla="*/ 94 w 291"/>
              <a:gd name="T37" fmla="*/ 276 h 403"/>
              <a:gd name="T38" fmla="*/ 91 w 291"/>
              <a:gd name="T39" fmla="*/ 264 h 403"/>
              <a:gd name="T40" fmla="*/ 91 w 291"/>
              <a:gd name="T41" fmla="*/ 250 h 403"/>
              <a:gd name="T42" fmla="*/ 112 w 291"/>
              <a:gd name="T43" fmla="*/ 201 h 403"/>
              <a:gd name="T44" fmla="*/ 157 w 291"/>
              <a:gd name="T45" fmla="*/ 167 h 403"/>
              <a:gd name="T46" fmla="*/ 183 w 291"/>
              <a:gd name="T47" fmla="*/ 149 h 403"/>
              <a:gd name="T48" fmla="*/ 191 w 291"/>
              <a:gd name="T49" fmla="*/ 125 h 403"/>
              <a:gd name="T50" fmla="*/ 176 w 291"/>
              <a:gd name="T51" fmla="*/ 102 h 403"/>
              <a:gd name="T52" fmla="*/ 142 w 291"/>
              <a:gd name="T53" fmla="*/ 92 h 403"/>
              <a:gd name="T54" fmla="*/ 108 w 291"/>
              <a:gd name="T55" fmla="*/ 101 h 403"/>
              <a:gd name="T56" fmla="*/ 75 w 291"/>
              <a:gd name="T57" fmla="*/ 137 h 403"/>
              <a:gd name="T58" fmla="*/ 65 w 291"/>
              <a:gd name="T59" fmla="*/ 142 h 403"/>
              <a:gd name="T60" fmla="*/ 57 w 291"/>
              <a:gd name="T61" fmla="*/ 139 h 403"/>
              <a:gd name="T62" fmla="*/ 5 w 291"/>
              <a:gd name="T63" fmla="*/ 100 h 403"/>
              <a:gd name="T64" fmla="*/ 91 w 291"/>
              <a:gd name="T65" fmla="*/ 390 h 403"/>
              <a:gd name="T66" fmla="*/ 91 w 291"/>
              <a:gd name="T67" fmla="*/ 315 h 403"/>
              <a:gd name="T68" fmla="*/ 95 w 291"/>
              <a:gd name="T69" fmla="*/ 306 h 403"/>
              <a:gd name="T70" fmla="*/ 104 w 291"/>
              <a:gd name="T71" fmla="*/ 302 h 403"/>
              <a:gd name="T72" fmla="*/ 179 w 291"/>
              <a:gd name="T73" fmla="*/ 302 h 403"/>
              <a:gd name="T74" fmla="*/ 188 w 291"/>
              <a:gd name="T75" fmla="*/ 306 h 403"/>
              <a:gd name="T76" fmla="*/ 192 w 291"/>
              <a:gd name="T77" fmla="*/ 315 h 403"/>
              <a:gd name="T78" fmla="*/ 192 w 291"/>
              <a:gd name="T79" fmla="*/ 390 h 403"/>
              <a:gd name="T80" fmla="*/ 188 w 291"/>
              <a:gd name="T81" fmla="*/ 399 h 403"/>
              <a:gd name="T82" fmla="*/ 179 w 291"/>
              <a:gd name="T83" fmla="*/ 403 h 403"/>
              <a:gd name="T84" fmla="*/ 104 w 291"/>
              <a:gd name="T85" fmla="*/ 403 h 403"/>
              <a:gd name="T86" fmla="*/ 95 w 291"/>
              <a:gd name="T87" fmla="*/ 399 h 403"/>
              <a:gd name="T88" fmla="*/ 91 w 291"/>
              <a:gd name="T89" fmla="*/ 39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1" h="403">
                <a:moveTo>
                  <a:pt x="5" y="100"/>
                </a:moveTo>
                <a:cubicBezTo>
                  <a:pt x="3" y="98"/>
                  <a:pt x="1" y="95"/>
                  <a:pt x="1" y="92"/>
                </a:cubicBezTo>
                <a:cubicBezTo>
                  <a:pt x="0" y="89"/>
                  <a:pt x="1" y="86"/>
                  <a:pt x="2" y="83"/>
                </a:cubicBezTo>
                <a:cubicBezTo>
                  <a:pt x="36" y="28"/>
                  <a:pt x="85" y="0"/>
                  <a:pt x="148" y="0"/>
                </a:cubicBezTo>
                <a:cubicBezTo>
                  <a:pt x="165" y="0"/>
                  <a:pt x="182" y="3"/>
                  <a:pt x="199" y="9"/>
                </a:cubicBezTo>
                <a:cubicBezTo>
                  <a:pt x="216" y="16"/>
                  <a:pt x="232" y="25"/>
                  <a:pt x="245" y="36"/>
                </a:cubicBezTo>
                <a:cubicBezTo>
                  <a:pt x="259" y="46"/>
                  <a:pt x="270" y="60"/>
                  <a:pt x="279" y="76"/>
                </a:cubicBezTo>
                <a:cubicBezTo>
                  <a:pt x="287" y="92"/>
                  <a:pt x="291" y="108"/>
                  <a:pt x="291" y="126"/>
                </a:cubicBezTo>
                <a:cubicBezTo>
                  <a:pt x="291" y="137"/>
                  <a:pt x="290" y="148"/>
                  <a:pt x="287" y="157"/>
                </a:cubicBezTo>
                <a:cubicBezTo>
                  <a:pt x="283" y="167"/>
                  <a:pt x="280" y="175"/>
                  <a:pt x="276" y="182"/>
                </a:cubicBezTo>
                <a:cubicBezTo>
                  <a:pt x="271" y="188"/>
                  <a:pt x="266" y="194"/>
                  <a:pt x="258" y="200"/>
                </a:cubicBezTo>
                <a:cubicBezTo>
                  <a:pt x="251" y="207"/>
                  <a:pt x="245" y="211"/>
                  <a:pt x="240" y="214"/>
                </a:cubicBezTo>
                <a:cubicBezTo>
                  <a:pt x="236" y="217"/>
                  <a:pt x="229" y="221"/>
                  <a:pt x="221" y="225"/>
                </a:cubicBezTo>
                <a:cubicBezTo>
                  <a:pt x="212" y="230"/>
                  <a:pt x="205" y="237"/>
                  <a:pt x="199" y="246"/>
                </a:cubicBezTo>
                <a:cubicBezTo>
                  <a:pt x="194" y="254"/>
                  <a:pt x="191" y="261"/>
                  <a:pt x="191" y="267"/>
                </a:cubicBezTo>
                <a:cubicBezTo>
                  <a:pt x="191" y="270"/>
                  <a:pt x="189" y="274"/>
                  <a:pt x="187" y="277"/>
                </a:cubicBezTo>
                <a:cubicBezTo>
                  <a:pt x="184" y="280"/>
                  <a:pt x="181" y="282"/>
                  <a:pt x="178" y="282"/>
                </a:cubicBezTo>
                <a:lnTo>
                  <a:pt x="102" y="282"/>
                </a:lnTo>
                <a:cubicBezTo>
                  <a:pt x="99" y="282"/>
                  <a:pt x="97" y="280"/>
                  <a:pt x="94" y="276"/>
                </a:cubicBezTo>
                <a:cubicBezTo>
                  <a:pt x="92" y="272"/>
                  <a:pt x="91" y="268"/>
                  <a:pt x="91" y="264"/>
                </a:cubicBezTo>
                <a:lnTo>
                  <a:pt x="91" y="250"/>
                </a:lnTo>
                <a:cubicBezTo>
                  <a:pt x="91" y="233"/>
                  <a:pt x="98" y="216"/>
                  <a:pt x="112" y="201"/>
                </a:cubicBezTo>
                <a:cubicBezTo>
                  <a:pt x="125" y="185"/>
                  <a:pt x="140" y="174"/>
                  <a:pt x="157" y="167"/>
                </a:cubicBezTo>
                <a:cubicBezTo>
                  <a:pt x="169" y="161"/>
                  <a:pt x="178" y="155"/>
                  <a:pt x="183" y="149"/>
                </a:cubicBezTo>
                <a:cubicBezTo>
                  <a:pt x="188" y="143"/>
                  <a:pt x="191" y="135"/>
                  <a:pt x="191" y="125"/>
                </a:cubicBezTo>
                <a:cubicBezTo>
                  <a:pt x="191" y="116"/>
                  <a:pt x="186" y="108"/>
                  <a:pt x="176" y="102"/>
                </a:cubicBezTo>
                <a:cubicBezTo>
                  <a:pt x="167" y="95"/>
                  <a:pt x="155" y="92"/>
                  <a:pt x="142" y="92"/>
                </a:cubicBezTo>
                <a:cubicBezTo>
                  <a:pt x="129" y="92"/>
                  <a:pt x="117" y="95"/>
                  <a:pt x="108" y="101"/>
                </a:cubicBezTo>
                <a:cubicBezTo>
                  <a:pt x="101" y="106"/>
                  <a:pt x="90" y="118"/>
                  <a:pt x="75" y="137"/>
                </a:cubicBezTo>
                <a:cubicBezTo>
                  <a:pt x="72" y="140"/>
                  <a:pt x="69" y="142"/>
                  <a:pt x="65" y="142"/>
                </a:cubicBezTo>
                <a:cubicBezTo>
                  <a:pt x="62" y="142"/>
                  <a:pt x="60" y="141"/>
                  <a:pt x="57" y="139"/>
                </a:cubicBezTo>
                <a:lnTo>
                  <a:pt x="5" y="100"/>
                </a:lnTo>
                <a:close/>
                <a:moveTo>
                  <a:pt x="91" y="390"/>
                </a:moveTo>
                <a:lnTo>
                  <a:pt x="91" y="315"/>
                </a:lnTo>
                <a:cubicBezTo>
                  <a:pt x="91" y="311"/>
                  <a:pt x="92" y="308"/>
                  <a:pt x="95" y="306"/>
                </a:cubicBezTo>
                <a:cubicBezTo>
                  <a:pt x="97" y="303"/>
                  <a:pt x="100" y="302"/>
                  <a:pt x="104" y="302"/>
                </a:cubicBezTo>
                <a:lnTo>
                  <a:pt x="179" y="302"/>
                </a:lnTo>
                <a:cubicBezTo>
                  <a:pt x="183" y="302"/>
                  <a:pt x="186" y="303"/>
                  <a:pt x="188" y="306"/>
                </a:cubicBezTo>
                <a:cubicBezTo>
                  <a:pt x="191" y="308"/>
                  <a:pt x="192" y="311"/>
                  <a:pt x="192" y="315"/>
                </a:cubicBezTo>
                <a:lnTo>
                  <a:pt x="192" y="390"/>
                </a:lnTo>
                <a:cubicBezTo>
                  <a:pt x="192" y="394"/>
                  <a:pt x="191" y="396"/>
                  <a:pt x="188" y="399"/>
                </a:cubicBezTo>
                <a:cubicBezTo>
                  <a:pt x="186" y="402"/>
                  <a:pt x="183" y="403"/>
                  <a:pt x="179" y="403"/>
                </a:cubicBezTo>
                <a:lnTo>
                  <a:pt x="104" y="403"/>
                </a:lnTo>
                <a:cubicBezTo>
                  <a:pt x="100" y="403"/>
                  <a:pt x="97" y="402"/>
                  <a:pt x="95" y="399"/>
                </a:cubicBezTo>
                <a:cubicBezTo>
                  <a:pt x="92" y="396"/>
                  <a:pt x="91" y="394"/>
                  <a:pt x="91" y="39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305">
            <a:extLst>
              <a:ext uri="{FF2B5EF4-FFF2-40B4-BE49-F238E27FC236}">
                <a16:creationId xmlns:a16="http://schemas.microsoft.com/office/drawing/2014/main" id="{8CADB92F-B62B-58AC-F7D3-411D808E9D2E}"/>
              </a:ext>
            </a:extLst>
          </p:cNvPr>
          <p:cNvSpPr>
            <a:spLocks noEditPoints="1"/>
          </p:cNvSpPr>
          <p:nvPr/>
        </p:nvSpPr>
        <p:spPr bwMode="auto">
          <a:xfrm>
            <a:off x="2863168" y="5023573"/>
            <a:ext cx="167203" cy="227398"/>
          </a:xfrm>
          <a:custGeom>
            <a:avLst/>
            <a:gdLst>
              <a:gd name="T0" fmla="*/ 5 w 291"/>
              <a:gd name="T1" fmla="*/ 100 h 403"/>
              <a:gd name="T2" fmla="*/ 1 w 291"/>
              <a:gd name="T3" fmla="*/ 92 h 403"/>
              <a:gd name="T4" fmla="*/ 2 w 291"/>
              <a:gd name="T5" fmla="*/ 83 h 403"/>
              <a:gd name="T6" fmla="*/ 148 w 291"/>
              <a:gd name="T7" fmla="*/ 0 h 403"/>
              <a:gd name="T8" fmla="*/ 199 w 291"/>
              <a:gd name="T9" fmla="*/ 9 h 403"/>
              <a:gd name="T10" fmla="*/ 245 w 291"/>
              <a:gd name="T11" fmla="*/ 36 h 403"/>
              <a:gd name="T12" fmla="*/ 279 w 291"/>
              <a:gd name="T13" fmla="*/ 76 h 403"/>
              <a:gd name="T14" fmla="*/ 291 w 291"/>
              <a:gd name="T15" fmla="*/ 126 h 403"/>
              <a:gd name="T16" fmla="*/ 287 w 291"/>
              <a:gd name="T17" fmla="*/ 157 h 403"/>
              <a:gd name="T18" fmla="*/ 276 w 291"/>
              <a:gd name="T19" fmla="*/ 182 h 403"/>
              <a:gd name="T20" fmla="*/ 258 w 291"/>
              <a:gd name="T21" fmla="*/ 200 h 403"/>
              <a:gd name="T22" fmla="*/ 240 w 291"/>
              <a:gd name="T23" fmla="*/ 214 h 403"/>
              <a:gd name="T24" fmla="*/ 221 w 291"/>
              <a:gd name="T25" fmla="*/ 225 h 403"/>
              <a:gd name="T26" fmla="*/ 199 w 291"/>
              <a:gd name="T27" fmla="*/ 246 h 403"/>
              <a:gd name="T28" fmla="*/ 191 w 291"/>
              <a:gd name="T29" fmla="*/ 267 h 403"/>
              <a:gd name="T30" fmla="*/ 187 w 291"/>
              <a:gd name="T31" fmla="*/ 277 h 403"/>
              <a:gd name="T32" fmla="*/ 178 w 291"/>
              <a:gd name="T33" fmla="*/ 282 h 403"/>
              <a:gd name="T34" fmla="*/ 102 w 291"/>
              <a:gd name="T35" fmla="*/ 282 h 403"/>
              <a:gd name="T36" fmla="*/ 94 w 291"/>
              <a:gd name="T37" fmla="*/ 276 h 403"/>
              <a:gd name="T38" fmla="*/ 91 w 291"/>
              <a:gd name="T39" fmla="*/ 264 h 403"/>
              <a:gd name="T40" fmla="*/ 91 w 291"/>
              <a:gd name="T41" fmla="*/ 250 h 403"/>
              <a:gd name="T42" fmla="*/ 112 w 291"/>
              <a:gd name="T43" fmla="*/ 201 h 403"/>
              <a:gd name="T44" fmla="*/ 157 w 291"/>
              <a:gd name="T45" fmla="*/ 167 h 403"/>
              <a:gd name="T46" fmla="*/ 183 w 291"/>
              <a:gd name="T47" fmla="*/ 149 h 403"/>
              <a:gd name="T48" fmla="*/ 191 w 291"/>
              <a:gd name="T49" fmla="*/ 125 h 403"/>
              <a:gd name="T50" fmla="*/ 176 w 291"/>
              <a:gd name="T51" fmla="*/ 102 h 403"/>
              <a:gd name="T52" fmla="*/ 142 w 291"/>
              <a:gd name="T53" fmla="*/ 92 h 403"/>
              <a:gd name="T54" fmla="*/ 108 w 291"/>
              <a:gd name="T55" fmla="*/ 101 h 403"/>
              <a:gd name="T56" fmla="*/ 75 w 291"/>
              <a:gd name="T57" fmla="*/ 137 h 403"/>
              <a:gd name="T58" fmla="*/ 65 w 291"/>
              <a:gd name="T59" fmla="*/ 142 h 403"/>
              <a:gd name="T60" fmla="*/ 57 w 291"/>
              <a:gd name="T61" fmla="*/ 139 h 403"/>
              <a:gd name="T62" fmla="*/ 5 w 291"/>
              <a:gd name="T63" fmla="*/ 100 h 403"/>
              <a:gd name="T64" fmla="*/ 91 w 291"/>
              <a:gd name="T65" fmla="*/ 390 h 403"/>
              <a:gd name="T66" fmla="*/ 91 w 291"/>
              <a:gd name="T67" fmla="*/ 315 h 403"/>
              <a:gd name="T68" fmla="*/ 95 w 291"/>
              <a:gd name="T69" fmla="*/ 306 h 403"/>
              <a:gd name="T70" fmla="*/ 104 w 291"/>
              <a:gd name="T71" fmla="*/ 302 h 403"/>
              <a:gd name="T72" fmla="*/ 179 w 291"/>
              <a:gd name="T73" fmla="*/ 302 h 403"/>
              <a:gd name="T74" fmla="*/ 188 w 291"/>
              <a:gd name="T75" fmla="*/ 306 h 403"/>
              <a:gd name="T76" fmla="*/ 192 w 291"/>
              <a:gd name="T77" fmla="*/ 315 h 403"/>
              <a:gd name="T78" fmla="*/ 192 w 291"/>
              <a:gd name="T79" fmla="*/ 390 h 403"/>
              <a:gd name="T80" fmla="*/ 188 w 291"/>
              <a:gd name="T81" fmla="*/ 399 h 403"/>
              <a:gd name="T82" fmla="*/ 179 w 291"/>
              <a:gd name="T83" fmla="*/ 403 h 403"/>
              <a:gd name="T84" fmla="*/ 104 w 291"/>
              <a:gd name="T85" fmla="*/ 403 h 403"/>
              <a:gd name="T86" fmla="*/ 95 w 291"/>
              <a:gd name="T87" fmla="*/ 399 h 403"/>
              <a:gd name="T88" fmla="*/ 91 w 291"/>
              <a:gd name="T89" fmla="*/ 39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1" h="403">
                <a:moveTo>
                  <a:pt x="5" y="100"/>
                </a:moveTo>
                <a:cubicBezTo>
                  <a:pt x="3" y="98"/>
                  <a:pt x="1" y="95"/>
                  <a:pt x="1" y="92"/>
                </a:cubicBezTo>
                <a:cubicBezTo>
                  <a:pt x="0" y="89"/>
                  <a:pt x="1" y="86"/>
                  <a:pt x="2" y="83"/>
                </a:cubicBezTo>
                <a:cubicBezTo>
                  <a:pt x="36" y="28"/>
                  <a:pt x="85" y="0"/>
                  <a:pt x="148" y="0"/>
                </a:cubicBezTo>
                <a:cubicBezTo>
                  <a:pt x="165" y="0"/>
                  <a:pt x="182" y="3"/>
                  <a:pt x="199" y="9"/>
                </a:cubicBezTo>
                <a:cubicBezTo>
                  <a:pt x="216" y="16"/>
                  <a:pt x="232" y="25"/>
                  <a:pt x="245" y="36"/>
                </a:cubicBezTo>
                <a:cubicBezTo>
                  <a:pt x="259" y="46"/>
                  <a:pt x="270" y="60"/>
                  <a:pt x="279" y="76"/>
                </a:cubicBezTo>
                <a:cubicBezTo>
                  <a:pt x="287" y="92"/>
                  <a:pt x="291" y="108"/>
                  <a:pt x="291" y="126"/>
                </a:cubicBezTo>
                <a:cubicBezTo>
                  <a:pt x="291" y="137"/>
                  <a:pt x="290" y="148"/>
                  <a:pt x="287" y="157"/>
                </a:cubicBezTo>
                <a:cubicBezTo>
                  <a:pt x="283" y="167"/>
                  <a:pt x="280" y="175"/>
                  <a:pt x="276" y="182"/>
                </a:cubicBezTo>
                <a:cubicBezTo>
                  <a:pt x="271" y="188"/>
                  <a:pt x="266" y="194"/>
                  <a:pt x="258" y="200"/>
                </a:cubicBezTo>
                <a:cubicBezTo>
                  <a:pt x="251" y="207"/>
                  <a:pt x="245" y="211"/>
                  <a:pt x="240" y="214"/>
                </a:cubicBezTo>
                <a:cubicBezTo>
                  <a:pt x="236" y="217"/>
                  <a:pt x="229" y="221"/>
                  <a:pt x="221" y="225"/>
                </a:cubicBezTo>
                <a:cubicBezTo>
                  <a:pt x="212" y="230"/>
                  <a:pt x="205" y="237"/>
                  <a:pt x="199" y="246"/>
                </a:cubicBezTo>
                <a:cubicBezTo>
                  <a:pt x="194" y="254"/>
                  <a:pt x="191" y="261"/>
                  <a:pt x="191" y="267"/>
                </a:cubicBezTo>
                <a:cubicBezTo>
                  <a:pt x="191" y="270"/>
                  <a:pt x="189" y="274"/>
                  <a:pt x="187" y="277"/>
                </a:cubicBezTo>
                <a:cubicBezTo>
                  <a:pt x="184" y="280"/>
                  <a:pt x="181" y="282"/>
                  <a:pt x="178" y="282"/>
                </a:cubicBezTo>
                <a:lnTo>
                  <a:pt x="102" y="282"/>
                </a:lnTo>
                <a:cubicBezTo>
                  <a:pt x="99" y="282"/>
                  <a:pt x="97" y="280"/>
                  <a:pt x="94" y="276"/>
                </a:cubicBezTo>
                <a:cubicBezTo>
                  <a:pt x="92" y="272"/>
                  <a:pt x="91" y="268"/>
                  <a:pt x="91" y="264"/>
                </a:cubicBezTo>
                <a:lnTo>
                  <a:pt x="91" y="250"/>
                </a:lnTo>
                <a:cubicBezTo>
                  <a:pt x="91" y="233"/>
                  <a:pt x="98" y="216"/>
                  <a:pt x="112" y="201"/>
                </a:cubicBezTo>
                <a:cubicBezTo>
                  <a:pt x="125" y="185"/>
                  <a:pt x="140" y="174"/>
                  <a:pt x="157" y="167"/>
                </a:cubicBezTo>
                <a:cubicBezTo>
                  <a:pt x="169" y="161"/>
                  <a:pt x="178" y="155"/>
                  <a:pt x="183" y="149"/>
                </a:cubicBezTo>
                <a:cubicBezTo>
                  <a:pt x="188" y="143"/>
                  <a:pt x="191" y="135"/>
                  <a:pt x="191" y="125"/>
                </a:cubicBezTo>
                <a:cubicBezTo>
                  <a:pt x="191" y="116"/>
                  <a:pt x="186" y="108"/>
                  <a:pt x="176" y="102"/>
                </a:cubicBezTo>
                <a:cubicBezTo>
                  <a:pt x="167" y="95"/>
                  <a:pt x="155" y="92"/>
                  <a:pt x="142" y="92"/>
                </a:cubicBezTo>
                <a:cubicBezTo>
                  <a:pt x="129" y="92"/>
                  <a:pt x="117" y="95"/>
                  <a:pt x="108" y="101"/>
                </a:cubicBezTo>
                <a:cubicBezTo>
                  <a:pt x="101" y="106"/>
                  <a:pt x="90" y="118"/>
                  <a:pt x="75" y="137"/>
                </a:cubicBezTo>
                <a:cubicBezTo>
                  <a:pt x="72" y="140"/>
                  <a:pt x="69" y="142"/>
                  <a:pt x="65" y="142"/>
                </a:cubicBezTo>
                <a:cubicBezTo>
                  <a:pt x="62" y="142"/>
                  <a:pt x="60" y="141"/>
                  <a:pt x="57" y="139"/>
                </a:cubicBezTo>
                <a:lnTo>
                  <a:pt x="5" y="100"/>
                </a:lnTo>
                <a:close/>
                <a:moveTo>
                  <a:pt x="91" y="390"/>
                </a:moveTo>
                <a:lnTo>
                  <a:pt x="91" y="315"/>
                </a:lnTo>
                <a:cubicBezTo>
                  <a:pt x="91" y="311"/>
                  <a:pt x="92" y="308"/>
                  <a:pt x="95" y="306"/>
                </a:cubicBezTo>
                <a:cubicBezTo>
                  <a:pt x="97" y="303"/>
                  <a:pt x="100" y="302"/>
                  <a:pt x="104" y="302"/>
                </a:cubicBezTo>
                <a:lnTo>
                  <a:pt x="179" y="302"/>
                </a:lnTo>
                <a:cubicBezTo>
                  <a:pt x="183" y="302"/>
                  <a:pt x="186" y="303"/>
                  <a:pt x="188" y="306"/>
                </a:cubicBezTo>
                <a:cubicBezTo>
                  <a:pt x="191" y="308"/>
                  <a:pt x="192" y="311"/>
                  <a:pt x="192" y="315"/>
                </a:cubicBezTo>
                <a:lnTo>
                  <a:pt x="192" y="390"/>
                </a:lnTo>
                <a:cubicBezTo>
                  <a:pt x="192" y="394"/>
                  <a:pt x="191" y="396"/>
                  <a:pt x="188" y="399"/>
                </a:cubicBezTo>
                <a:cubicBezTo>
                  <a:pt x="186" y="402"/>
                  <a:pt x="183" y="403"/>
                  <a:pt x="179" y="403"/>
                </a:cubicBezTo>
                <a:lnTo>
                  <a:pt x="104" y="403"/>
                </a:lnTo>
                <a:cubicBezTo>
                  <a:pt x="100" y="403"/>
                  <a:pt x="97" y="402"/>
                  <a:pt x="95" y="399"/>
                </a:cubicBezTo>
                <a:cubicBezTo>
                  <a:pt x="92" y="396"/>
                  <a:pt x="91" y="394"/>
                  <a:pt x="91" y="39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Retângulo 27">
            <a:extLst>
              <a:ext uri="{FF2B5EF4-FFF2-40B4-BE49-F238E27FC236}">
                <a16:creationId xmlns:a16="http://schemas.microsoft.com/office/drawing/2014/main" id="{761F7CAE-1D54-8B0E-B723-CD26B753524F}"/>
              </a:ext>
            </a:extLst>
          </p:cNvPr>
          <p:cNvSpPr/>
          <p:nvPr/>
        </p:nvSpPr>
        <p:spPr>
          <a:xfrm>
            <a:off x="5006338" y="792000"/>
            <a:ext cx="4371810"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3976891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35" name="Retângulo 34">
            <a:extLst>
              <a:ext uri="{FF2B5EF4-FFF2-40B4-BE49-F238E27FC236}">
                <a16:creationId xmlns:a16="http://schemas.microsoft.com/office/drawing/2014/main" id="{06EEDD14-894E-2C26-6583-4098006ACEF3}"/>
              </a:ext>
            </a:extLst>
          </p:cNvPr>
          <p:cNvSpPr/>
          <p:nvPr/>
        </p:nvSpPr>
        <p:spPr>
          <a:xfrm>
            <a:off x="334949" y="2681280"/>
            <a:ext cx="4371810" cy="333738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Conclusion and outlook: </a:t>
            </a:r>
            <a:r>
              <a:rPr lang="en-US" b="0" i="1" dirty="0"/>
              <a:t>Conclusions</a:t>
            </a:r>
          </a:p>
        </p:txBody>
      </p:sp>
      <p:grpSp>
        <p:nvGrpSpPr>
          <p:cNvPr id="3" name="Agrupar 2">
            <a:extLst>
              <a:ext uri="{FF2B5EF4-FFF2-40B4-BE49-F238E27FC236}">
                <a16:creationId xmlns:a16="http://schemas.microsoft.com/office/drawing/2014/main" id="{9D5A7801-B653-8FBB-5F08-C9ED51CA2204}"/>
              </a:ext>
            </a:extLst>
          </p:cNvPr>
          <p:cNvGrpSpPr/>
          <p:nvPr/>
        </p:nvGrpSpPr>
        <p:grpSpPr>
          <a:xfrm>
            <a:off x="334949" y="792000"/>
            <a:ext cx="4371810" cy="1889280"/>
            <a:chOff x="334949" y="1008019"/>
            <a:chExt cx="4371810" cy="1889280"/>
          </a:xfrm>
        </p:grpSpPr>
        <p:sp>
          <p:nvSpPr>
            <p:cNvPr id="2" name="Retângulo 1">
              <a:extLst>
                <a:ext uri="{FF2B5EF4-FFF2-40B4-BE49-F238E27FC236}">
                  <a16:creationId xmlns:a16="http://schemas.microsoft.com/office/drawing/2014/main" id="{55E4EA3B-46BE-210B-FE9A-756E9E272DFC}"/>
                </a:ext>
              </a:extLst>
            </p:cNvPr>
            <p:cNvSpPr/>
            <p:nvPr/>
          </p:nvSpPr>
          <p:spPr>
            <a:xfrm>
              <a:off x="334949" y="1376220"/>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1" name="Google Shape;237;p31">
              <a:extLst>
                <a:ext uri="{FF2B5EF4-FFF2-40B4-BE49-F238E27FC236}">
                  <a16:creationId xmlns:a16="http://schemas.microsoft.com/office/drawing/2014/main" id="{7DFFF9CB-32AC-36D9-80AF-DDBE7DC8659E}"/>
                </a:ext>
              </a:extLst>
            </p:cNvPr>
            <p:cNvSpPr txBox="1">
              <a:spLocks/>
            </p:cNvSpPr>
            <p:nvPr/>
          </p:nvSpPr>
          <p:spPr>
            <a:xfrm>
              <a:off x="334949" y="1400005"/>
              <a:ext cx="4069903" cy="124059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Compare:</a:t>
              </a:r>
            </a:p>
            <a:p>
              <a:pPr marL="812800" lvl="1">
                <a:spcBef>
                  <a:spcPts val="0"/>
                </a:spcBef>
                <a:buSzPts val="2640"/>
                <a:buFont typeface="Noto Sans Symbols"/>
                <a:buChar char="▪"/>
              </a:pPr>
              <a:r>
                <a:rPr lang="en-US" sz="1800" dirty="0"/>
                <a:t>Assistive devices;</a:t>
              </a:r>
            </a:p>
            <a:p>
              <a:pPr marL="812800" lvl="1">
                <a:spcBef>
                  <a:spcPts val="0"/>
                </a:spcBef>
                <a:buSzPts val="2640"/>
                <a:buFont typeface="Noto Sans Symbols"/>
                <a:buChar char="▪"/>
              </a:pPr>
              <a:r>
                <a:rPr lang="en-US" sz="1800" dirty="0"/>
                <a:t>Human factors;</a:t>
              </a:r>
            </a:p>
            <a:p>
              <a:pPr marL="812800" lvl="1">
                <a:spcBef>
                  <a:spcPts val="0"/>
                </a:spcBef>
                <a:buSzPts val="2640"/>
                <a:buFont typeface="Noto Sans Symbols"/>
                <a:buChar char="▪"/>
              </a:pPr>
              <a:r>
                <a:rPr lang="en-US" sz="1800" dirty="0"/>
                <a:t>Virtual environment.</a:t>
              </a:r>
            </a:p>
            <a:p>
              <a:pPr marL="355600">
                <a:spcBef>
                  <a:spcPts val="0"/>
                </a:spcBef>
              </a:pPr>
              <a:r>
                <a:rPr lang="en-US" sz="1800" dirty="0"/>
                <a:t>Main Limitations</a:t>
              </a:r>
            </a:p>
            <a:p>
              <a:pPr marL="0" indent="0">
                <a:spcBef>
                  <a:spcPts val="0"/>
                </a:spcBef>
                <a:buNone/>
              </a:pPr>
              <a:endParaRPr lang="en-US" sz="2000" dirty="0"/>
            </a:p>
          </p:txBody>
        </p:sp>
        <p:sp>
          <p:nvSpPr>
            <p:cNvPr id="25" name="Google Shape;237;p31">
              <a:extLst>
                <a:ext uri="{FF2B5EF4-FFF2-40B4-BE49-F238E27FC236}">
                  <a16:creationId xmlns:a16="http://schemas.microsoft.com/office/drawing/2014/main" id="{9DE04137-4131-49CB-ED49-5786BB17BC10}"/>
                </a:ext>
              </a:extLst>
            </p:cNvPr>
            <p:cNvSpPr txBox="1">
              <a:spLocks/>
            </p:cNvSpPr>
            <p:nvPr/>
          </p:nvSpPr>
          <p:spPr>
            <a:xfrm>
              <a:off x="496631" y="1008019"/>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1</a:t>
              </a:r>
              <a:endParaRPr lang="en-US" sz="2000" dirty="0">
                <a:solidFill>
                  <a:srgbClr val="FFFFFF"/>
                </a:solidFill>
              </a:endParaRPr>
            </a:p>
          </p:txBody>
        </p:sp>
      </p:grpSp>
      <p:grpSp>
        <p:nvGrpSpPr>
          <p:cNvPr id="4" name="Agrupar 3">
            <a:extLst>
              <a:ext uri="{FF2B5EF4-FFF2-40B4-BE49-F238E27FC236}">
                <a16:creationId xmlns:a16="http://schemas.microsoft.com/office/drawing/2014/main" id="{B04835F4-3582-9503-6B0E-C65F2369350B}"/>
              </a:ext>
            </a:extLst>
          </p:cNvPr>
          <p:cNvGrpSpPr/>
          <p:nvPr/>
        </p:nvGrpSpPr>
        <p:grpSpPr>
          <a:xfrm>
            <a:off x="4992866" y="792000"/>
            <a:ext cx="4385282" cy="1913065"/>
            <a:chOff x="4992866" y="1829066"/>
            <a:chExt cx="4385282" cy="1913065"/>
          </a:xfrm>
        </p:grpSpPr>
        <p:sp>
          <p:nvSpPr>
            <p:cNvPr id="12" name="Retângulo 11">
              <a:extLst>
                <a:ext uri="{FF2B5EF4-FFF2-40B4-BE49-F238E27FC236}">
                  <a16:creationId xmlns:a16="http://schemas.microsoft.com/office/drawing/2014/main" id="{E1D250CF-D224-21EE-3887-756F31127729}"/>
                </a:ext>
              </a:extLst>
            </p:cNvPr>
            <p:cNvSpPr/>
            <p:nvPr/>
          </p:nvSpPr>
          <p:spPr>
            <a:xfrm>
              <a:off x="5006338" y="2197267"/>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3" name="Google Shape;237;p31">
              <a:extLst>
                <a:ext uri="{FF2B5EF4-FFF2-40B4-BE49-F238E27FC236}">
                  <a16:creationId xmlns:a16="http://schemas.microsoft.com/office/drawing/2014/main" id="{AB5E4888-D89D-1ECF-09AA-037124D02D03}"/>
                </a:ext>
              </a:extLst>
            </p:cNvPr>
            <p:cNvSpPr txBox="1">
              <a:spLocks/>
            </p:cNvSpPr>
            <p:nvPr/>
          </p:nvSpPr>
          <p:spPr>
            <a:xfrm>
              <a:off x="4992866" y="2221052"/>
              <a:ext cx="4210128" cy="15210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812800" lvl="1" indent="-355600">
                <a:spcBef>
                  <a:spcPts val="0"/>
                </a:spcBef>
                <a:buSzPts val="2640"/>
                <a:buFont typeface="Noto Sans Symbols"/>
                <a:buChar char="▪"/>
              </a:pPr>
              <a:r>
                <a:rPr lang="en-US" sz="1800" dirty="0"/>
                <a:t>non-BVI users:</a:t>
              </a:r>
            </a:p>
            <a:p>
              <a:pPr marL="1270000" lvl="2">
                <a:spcBef>
                  <a:spcPts val="0"/>
                </a:spcBef>
                <a:buSzPts val="2640"/>
                <a:buFont typeface="Noto Sans Symbols"/>
                <a:buChar char="▪"/>
              </a:pPr>
              <a:r>
                <a:rPr lang="en-US" sz="1800" dirty="0"/>
                <a:t>Deprived of their vision;</a:t>
              </a:r>
            </a:p>
            <a:p>
              <a:pPr marL="1270000" lvl="2">
                <a:spcBef>
                  <a:spcPts val="0"/>
                </a:spcBef>
                <a:buSzPts val="2640"/>
                <a:buFont typeface="Noto Sans Symbols"/>
                <a:buChar char="▪"/>
              </a:pPr>
              <a:r>
                <a:rPr lang="en-US" sz="1800" dirty="0"/>
                <a:t>Similarly assistive devices as BVI users.</a:t>
              </a:r>
            </a:p>
          </p:txBody>
        </p:sp>
        <p:sp>
          <p:nvSpPr>
            <p:cNvPr id="26" name="Google Shape;237;p31">
              <a:extLst>
                <a:ext uri="{FF2B5EF4-FFF2-40B4-BE49-F238E27FC236}">
                  <a16:creationId xmlns:a16="http://schemas.microsoft.com/office/drawing/2014/main" id="{FA4DB664-0350-E173-96A1-FF22B7EE9F77}"/>
                </a:ext>
              </a:extLst>
            </p:cNvPr>
            <p:cNvSpPr txBox="1">
              <a:spLocks/>
            </p:cNvSpPr>
            <p:nvPr/>
          </p:nvSpPr>
          <p:spPr>
            <a:xfrm>
              <a:off x="5186876" y="1829066"/>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2</a:t>
              </a:r>
              <a:endParaRPr lang="en-US" sz="2000" dirty="0">
                <a:solidFill>
                  <a:srgbClr val="FFFFFF"/>
                </a:solidFill>
              </a:endParaRPr>
            </a:p>
          </p:txBody>
        </p:sp>
      </p:grpSp>
      <p:sp>
        <p:nvSpPr>
          <p:cNvPr id="36" name="Retângulo 35">
            <a:extLst>
              <a:ext uri="{FF2B5EF4-FFF2-40B4-BE49-F238E27FC236}">
                <a16:creationId xmlns:a16="http://schemas.microsoft.com/office/drawing/2014/main" id="{92FB7F04-40A9-493B-D5D7-05D075E75D7C}"/>
              </a:ext>
            </a:extLst>
          </p:cNvPr>
          <p:cNvSpPr/>
          <p:nvPr/>
        </p:nvSpPr>
        <p:spPr>
          <a:xfrm>
            <a:off x="5006338" y="2681279"/>
            <a:ext cx="4371810" cy="3337385"/>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39" name="Imagem 38">
            <a:extLst>
              <a:ext uri="{FF2B5EF4-FFF2-40B4-BE49-F238E27FC236}">
                <a16:creationId xmlns:a16="http://schemas.microsoft.com/office/drawing/2014/main" id="{C911A2DD-E74A-7C5E-AED7-7BA5DD6D02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7037" y="2938089"/>
            <a:ext cx="929981" cy="929981"/>
          </a:xfrm>
          <a:prstGeom prst="rect">
            <a:avLst/>
          </a:prstGeom>
        </p:spPr>
      </p:pic>
      <p:grpSp>
        <p:nvGrpSpPr>
          <p:cNvPr id="5" name="Agrupar 4">
            <a:extLst>
              <a:ext uri="{FF2B5EF4-FFF2-40B4-BE49-F238E27FC236}">
                <a16:creationId xmlns:a16="http://schemas.microsoft.com/office/drawing/2014/main" id="{E70A53DE-6F16-87C5-F314-78574294C935}"/>
              </a:ext>
            </a:extLst>
          </p:cNvPr>
          <p:cNvGrpSpPr/>
          <p:nvPr/>
        </p:nvGrpSpPr>
        <p:grpSpPr>
          <a:xfrm>
            <a:off x="7656768" y="2982543"/>
            <a:ext cx="1197673" cy="841073"/>
            <a:chOff x="6972933" y="2943205"/>
            <a:chExt cx="1787609" cy="1255359"/>
          </a:xfrm>
        </p:grpSpPr>
        <p:grpSp>
          <p:nvGrpSpPr>
            <p:cNvPr id="14" name="Agrupar 13">
              <a:extLst>
                <a:ext uri="{FF2B5EF4-FFF2-40B4-BE49-F238E27FC236}">
                  <a16:creationId xmlns:a16="http://schemas.microsoft.com/office/drawing/2014/main" id="{8E71E6EF-373E-220B-1878-F0BFE7787DB9}"/>
                </a:ext>
              </a:extLst>
            </p:cNvPr>
            <p:cNvGrpSpPr/>
            <p:nvPr/>
          </p:nvGrpSpPr>
          <p:grpSpPr>
            <a:xfrm>
              <a:off x="6972933" y="2943205"/>
              <a:ext cx="1787609" cy="1255359"/>
              <a:chOff x="6959461" y="4320127"/>
              <a:chExt cx="2418687" cy="1698537"/>
            </a:xfrm>
          </p:grpSpPr>
          <p:pic>
            <p:nvPicPr>
              <p:cNvPr id="20" name="Imagem 19">
                <a:extLst>
                  <a:ext uri="{FF2B5EF4-FFF2-40B4-BE49-F238E27FC236}">
                    <a16:creationId xmlns:a16="http://schemas.microsoft.com/office/drawing/2014/main" id="{5441947E-E855-EB36-AD79-A71E5D7D459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59461" y="4320127"/>
                <a:ext cx="929980" cy="929980"/>
              </a:xfrm>
              <a:prstGeom prst="rect">
                <a:avLst/>
              </a:prstGeom>
            </p:spPr>
          </p:pic>
          <p:grpSp>
            <p:nvGrpSpPr>
              <p:cNvPr id="23" name="Agrupar 22">
                <a:extLst>
                  <a:ext uri="{FF2B5EF4-FFF2-40B4-BE49-F238E27FC236}">
                    <a16:creationId xmlns:a16="http://schemas.microsoft.com/office/drawing/2014/main" id="{8BBF1C07-F1F5-7DB0-7167-D3F92D12AD86}"/>
                  </a:ext>
                </a:extLst>
              </p:cNvPr>
              <p:cNvGrpSpPr/>
              <p:nvPr/>
            </p:nvGrpSpPr>
            <p:grpSpPr>
              <a:xfrm>
                <a:off x="7927446" y="5349664"/>
                <a:ext cx="1450702" cy="669000"/>
                <a:chOff x="6262899" y="3403957"/>
                <a:chExt cx="2492154" cy="1149272"/>
              </a:xfrm>
            </p:grpSpPr>
            <p:pic>
              <p:nvPicPr>
                <p:cNvPr id="27" name="Imagem 26">
                  <a:extLst>
                    <a:ext uri="{FF2B5EF4-FFF2-40B4-BE49-F238E27FC236}">
                      <a16:creationId xmlns:a16="http://schemas.microsoft.com/office/drawing/2014/main" id="{10138A0D-5229-5D12-F8A5-F09AAC43DBF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9306" b="28194"/>
                <a:stretch/>
              </p:blipFill>
              <p:spPr>
                <a:xfrm>
                  <a:off x="6494257" y="3553440"/>
                  <a:ext cx="1947600" cy="827730"/>
                </a:xfrm>
                <a:prstGeom prst="rect">
                  <a:avLst/>
                </a:prstGeom>
              </p:spPr>
            </p:pic>
            <p:pic>
              <p:nvPicPr>
                <p:cNvPr id="28" name="Imagem 27">
                  <a:extLst>
                    <a:ext uri="{FF2B5EF4-FFF2-40B4-BE49-F238E27FC236}">
                      <a16:creationId xmlns:a16="http://schemas.microsoft.com/office/drawing/2014/main" id="{6C99CCFE-8349-6E4D-8668-795B25B1D6F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7200000">
                  <a:off x="6470402" y="4015446"/>
                  <a:ext cx="330280" cy="745285"/>
                </a:xfrm>
                <a:prstGeom prst="rect">
                  <a:avLst/>
                </a:prstGeom>
              </p:spPr>
            </p:pic>
            <p:pic>
              <p:nvPicPr>
                <p:cNvPr id="29" name="Imagem 28">
                  <a:extLst>
                    <a:ext uri="{FF2B5EF4-FFF2-40B4-BE49-F238E27FC236}">
                      <a16:creationId xmlns:a16="http://schemas.microsoft.com/office/drawing/2014/main" id="{6A4704EC-0836-D7CE-3A61-51CFD520296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4400000">
                  <a:off x="6470403" y="3196454"/>
                  <a:ext cx="330280" cy="745285"/>
                </a:xfrm>
                <a:prstGeom prst="rect">
                  <a:avLst/>
                </a:prstGeom>
              </p:spPr>
            </p:pic>
            <p:pic>
              <p:nvPicPr>
                <p:cNvPr id="30" name="Imagem 29">
                  <a:extLst>
                    <a:ext uri="{FF2B5EF4-FFF2-40B4-BE49-F238E27FC236}">
                      <a16:creationId xmlns:a16="http://schemas.microsoft.com/office/drawing/2014/main" id="{5FBE56D9-67AE-5858-FFF1-A78C170B1DA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3600000">
                  <a:off x="8217271" y="4015446"/>
                  <a:ext cx="330280" cy="745285"/>
                </a:xfrm>
                <a:prstGeom prst="rect">
                  <a:avLst/>
                </a:prstGeom>
              </p:spPr>
            </p:pic>
            <p:pic>
              <p:nvPicPr>
                <p:cNvPr id="31" name="Imagem 30">
                  <a:extLst>
                    <a:ext uri="{FF2B5EF4-FFF2-40B4-BE49-F238E27FC236}">
                      <a16:creationId xmlns:a16="http://schemas.microsoft.com/office/drawing/2014/main" id="{1D069EAC-46B6-B339-B2CC-1B2FC3915F8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8000000">
                  <a:off x="8217271" y="3196456"/>
                  <a:ext cx="330280" cy="745285"/>
                </a:xfrm>
                <a:prstGeom prst="rect">
                  <a:avLst/>
                </a:prstGeom>
              </p:spPr>
            </p:pic>
          </p:grpSp>
        </p:grpSp>
        <p:sp>
          <p:nvSpPr>
            <p:cNvPr id="40" name="Freeform 137">
              <a:extLst>
                <a:ext uri="{FF2B5EF4-FFF2-40B4-BE49-F238E27FC236}">
                  <a16:creationId xmlns:a16="http://schemas.microsoft.com/office/drawing/2014/main" id="{769B0AB7-9E74-EB63-CD3D-8C70C7D50724}"/>
                </a:ext>
              </a:extLst>
            </p:cNvPr>
            <p:cNvSpPr>
              <a:spLocks/>
            </p:cNvSpPr>
            <p:nvPr/>
          </p:nvSpPr>
          <p:spPr bwMode="auto">
            <a:xfrm>
              <a:off x="7530537" y="3358625"/>
              <a:ext cx="348732" cy="348732"/>
            </a:xfrm>
            <a:custGeom>
              <a:avLst/>
              <a:gdLst>
                <a:gd name="T0" fmla="*/ 0 w 443"/>
                <a:gd name="T1" fmla="*/ 252 h 443"/>
                <a:gd name="T2" fmla="*/ 0 w 443"/>
                <a:gd name="T3" fmla="*/ 191 h 443"/>
                <a:gd name="T4" fmla="*/ 9 w 443"/>
                <a:gd name="T5" fmla="*/ 170 h 443"/>
                <a:gd name="T6" fmla="*/ 30 w 443"/>
                <a:gd name="T7" fmla="*/ 161 h 443"/>
                <a:gd name="T8" fmla="*/ 161 w 443"/>
                <a:gd name="T9" fmla="*/ 161 h 443"/>
                <a:gd name="T10" fmla="*/ 161 w 443"/>
                <a:gd name="T11" fmla="*/ 30 h 443"/>
                <a:gd name="T12" fmla="*/ 170 w 443"/>
                <a:gd name="T13" fmla="*/ 8 h 443"/>
                <a:gd name="T14" fmla="*/ 191 w 443"/>
                <a:gd name="T15" fmla="*/ 0 h 443"/>
                <a:gd name="T16" fmla="*/ 252 w 443"/>
                <a:gd name="T17" fmla="*/ 0 h 443"/>
                <a:gd name="T18" fmla="*/ 273 w 443"/>
                <a:gd name="T19" fmla="*/ 8 h 443"/>
                <a:gd name="T20" fmla="*/ 282 w 443"/>
                <a:gd name="T21" fmla="*/ 30 h 443"/>
                <a:gd name="T22" fmla="*/ 282 w 443"/>
                <a:gd name="T23" fmla="*/ 161 h 443"/>
                <a:gd name="T24" fmla="*/ 413 w 443"/>
                <a:gd name="T25" fmla="*/ 161 h 443"/>
                <a:gd name="T26" fmla="*/ 435 w 443"/>
                <a:gd name="T27" fmla="*/ 170 h 443"/>
                <a:gd name="T28" fmla="*/ 443 w 443"/>
                <a:gd name="T29" fmla="*/ 191 h 443"/>
                <a:gd name="T30" fmla="*/ 443 w 443"/>
                <a:gd name="T31" fmla="*/ 252 h 443"/>
                <a:gd name="T32" fmla="*/ 435 w 443"/>
                <a:gd name="T33" fmla="*/ 273 h 443"/>
                <a:gd name="T34" fmla="*/ 413 w 443"/>
                <a:gd name="T35" fmla="*/ 282 h 443"/>
                <a:gd name="T36" fmla="*/ 282 w 443"/>
                <a:gd name="T37" fmla="*/ 282 h 443"/>
                <a:gd name="T38" fmla="*/ 282 w 443"/>
                <a:gd name="T39" fmla="*/ 413 h 443"/>
                <a:gd name="T40" fmla="*/ 273 w 443"/>
                <a:gd name="T41" fmla="*/ 434 h 443"/>
                <a:gd name="T42" fmla="*/ 252 w 443"/>
                <a:gd name="T43" fmla="*/ 443 h 443"/>
                <a:gd name="T44" fmla="*/ 191 w 443"/>
                <a:gd name="T45" fmla="*/ 443 h 443"/>
                <a:gd name="T46" fmla="*/ 170 w 443"/>
                <a:gd name="T47" fmla="*/ 434 h 443"/>
                <a:gd name="T48" fmla="*/ 161 w 443"/>
                <a:gd name="T49" fmla="*/ 413 h 443"/>
                <a:gd name="T50" fmla="*/ 161 w 443"/>
                <a:gd name="T51" fmla="*/ 282 h 443"/>
                <a:gd name="T52" fmla="*/ 30 w 443"/>
                <a:gd name="T53" fmla="*/ 282 h 443"/>
                <a:gd name="T54" fmla="*/ 9 w 443"/>
                <a:gd name="T55" fmla="*/ 273 h 443"/>
                <a:gd name="T56" fmla="*/ 0 w 443"/>
                <a:gd name="T57" fmla="*/ 25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3" h="443">
                  <a:moveTo>
                    <a:pt x="0" y="252"/>
                  </a:moveTo>
                  <a:lnTo>
                    <a:pt x="0" y="191"/>
                  </a:lnTo>
                  <a:cubicBezTo>
                    <a:pt x="0" y="183"/>
                    <a:pt x="3" y="175"/>
                    <a:pt x="9" y="170"/>
                  </a:cubicBezTo>
                  <a:cubicBezTo>
                    <a:pt x="15" y="164"/>
                    <a:pt x="22" y="161"/>
                    <a:pt x="30" y="161"/>
                  </a:cubicBezTo>
                  <a:lnTo>
                    <a:pt x="161" y="161"/>
                  </a:lnTo>
                  <a:lnTo>
                    <a:pt x="161" y="30"/>
                  </a:lnTo>
                  <a:cubicBezTo>
                    <a:pt x="161" y="21"/>
                    <a:pt x="164" y="14"/>
                    <a:pt x="170" y="8"/>
                  </a:cubicBezTo>
                  <a:cubicBezTo>
                    <a:pt x="176" y="2"/>
                    <a:pt x="183" y="0"/>
                    <a:pt x="191" y="0"/>
                  </a:cubicBezTo>
                  <a:lnTo>
                    <a:pt x="252" y="0"/>
                  </a:lnTo>
                  <a:cubicBezTo>
                    <a:pt x="260" y="0"/>
                    <a:pt x="267" y="2"/>
                    <a:pt x="273" y="8"/>
                  </a:cubicBezTo>
                  <a:cubicBezTo>
                    <a:pt x="279" y="14"/>
                    <a:pt x="282" y="21"/>
                    <a:pt x="282" y="30"/>
                  </a:cubicBezTo>
                  <a:lnTo>
                    <a:pt x="282" y="161"/>
                  </a:lnTo>
                  <a:lnTo>
                    <a:pt x="413" y="161"/>
                  </a:lnTo>
                  <a:cubicBezTo>
                    <a:pt x="422" y="161"/>
                    <a:pt x="429" y="164"/>
                    <a:pt x="435" y="170"/>
                  </a:cubicBezTo>
                  <a:cubicBezTo>
                    <a:pt x="440" y="175"/>
                    <a:pt x="443" y="183"/>
                    <a:pt x="443" y="191"/>
                  </a:cubicBezTo>
                  <a:lnTo>
                    <a:pt x="443" y="252"/>
                  </a:lnTo>
                  <a:cubicBezTo>
                    <a:pt x="443" y="260"/>
                    <a:pt x="440" y="267"/>
                    <a:pt x="435" y="273"/>
                  </a:cubicBezTo>
                  <a:cubicBezTo>
                    <a:pt x="429" y="279"/>
                    <a:pt x="422" y="282"/>
                    <a:pt x="413" y="282"/>
                  </a:cubicBezTo>
                  <a:lnTo>
                    <a:pt x="282" y="282"/>
                  </a:lnTo>
                  <a:lnTo>
                    <a:pt x="282" y="413"/>
                  </a:lnTo>
                  <a:cubicBezTo>
                    <a:pt x="282" y="421"/>
                    <a:pt x="279" y="428"/>
                    <a:pt x="273" y="434"/>
                  </a:cubicBezTo>
                  <a:cubicBezTo>
                    <a:pt x="267" y="440"/>
                    <a:pt x="260" y="443"/>
                    <a:pt x="252" y="443"/>
                  </a:cubicBezTo>
                  <a:lnTo>
                    <a:pt x="191" y="443"/>
                  </a:lnTo>
                  <a:cubicBezTo>
                    <a:pt x="183" y="443"/>
                    <a:pt x="176" y="440"/>
                    <a:pt x="170" y="434"/>
                  </a:cubicBezTo>
                  <a:cubicBezTo>
                    <a:pt x="164" y="428"/>
                    <a:pt x="161" y="421"/>
                    <a:pt x="161" y="413"/>
                  </a:cubicBezTo>
                  <a:lnTo>
                    <a:pt x="161" y="282"/>
                  </a:lnTo>
                  <a:lnTo>
                    <a:pt x="30" y="282"/>
                  </a:lnTo>
                  <a:cubicBezTo>
                    <a:pt x="22" y="282"/>
                    <a:pt x="15" y="279"/>
                    <a:pt x="9" y="273"/>
                  </a:cubicBezTo>
                  <a:cubicBezTo>
                    <a:pt x="3" y="267"/>
                    <a:pt x="0" y="260"/>
                    <a:pt x="0" y="252"/>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53">
            <a:extLst>
              <a:ext uri="{FF2B5EF4-FFF2-40B4-BE49-F238E27FC236}">
                <a16:creationId xmlns:a16="http://schemas.microsoft.com/office/drawing/2014/main" id="{CACF4A2C-8262-2AC4-C737-D26DBF2AC43C}"/>
              </a:ext>
            </a:extLst>
          </p:cNvPr>
          <p:cNvSpPr>
            <a:spLocks/>
          </p:cNvSpPr>
          <p:nvPr/>
        </p:nvSpPr>
        <p:spPr bwMode="auto">
          <a:xfrm>
            <a:off x="6897717" y="3215659"/>
            <a:ext cx="380791" cy="374841"/>
          </a:xfrm>
          <a:custGeom>
            <a:avLst/>
            <a:gdLst>
              <a:gd name="T0" fmla="*/ 9 w 374"/>
              <a:gd name="T1" fmla="*/ 323 h 375"/>
              <a:gd name="T2" fmla="*/ 0 w 374"/>
              <a:gd name="T3" fmla="*/ 301 h 375"/>
              <a:gd name="T4" fmla="*/ 9 w 374"/>
              <a:gd name="T5" fmla="*/ 280 h 375"/>
              <a:gd name="T6" fmla="*/ 101 w 374"/>
              <a:gd name="T7" fmla="*/ 187 h 375"/>
              <a:gd name="T8" fmla="*/ 9 w 374"/>
              <a:gd name="T9" fmla="*/ 95 h 375"/>
              <a:gd name="T10" fmla="*/ 0 w 374"/>
              <a:gd name="T11" fmla="*/ 73 h 375"/>
              <a:gd name="T12" fmla="*/ 9 w 374"/>
              <a:gd name="T13" fmla="*/ 52 h 375"/>
              <a:gd name="T14" fmla="*/ 51 w 374"/>
              <a:gd name="T15" fmla="*/ 9 h 375"/>
              <a:gd name="T16" fmla="*/ 73 w 374"/>
              <a:gd name="T17" fmla="*/ 0 h 375"/>
              <a:gd name="T18" fmla="*/ 94 w 374"/>
              <a:gd name="T19" fmla="*/ 9 h 375"/>
              <a:gd name="T20" fmla="*/ 187 w 374"/>
              <a:gd name="T21" fmla="*/ 102 h 375"/>
              <a:gd name="T22" fmla="*/ 280 w 374"/>
              <a:gd name="T23" fmla="*/ 9 h 375"/>
              <a:gd name="T24" fmla="*/ 301 w 374"/>
              <a:gd name="T25" fmla="*/ 0 h 375"/>
              <a:gd name="T26" fmla="*/ 322 w 374"/>
              <a:gd name="T27" fmla="*/ 9 h 375"/>
              <a:gd name="T28" fmla="*/ 365 w 374"/>
              <a:gd name="T29" fmla="*/ 52 h 375"/>
              <a:gd name="T30" fmla="*/ 374 w 374"/>
              <a:gd name="T31" fmla="*/ 73 h 375"/>
              <a:gd name="T32" fmla="*/ 365 w 374"/>
              <a:gd name="T33" fmla="*/ 95 h 375"/>
              <a:gd name="T34" fmla="*/ 273 w 374"/>
              <a:gd name="T35" fmla="*/ 187 h 375"/>
              <a:gd name="T36" fmla="*/ 365 w 374"/>
              <a:gd name="T37" fmla="*/ 280 h 375"/>
              <a:gd name="T38" fmla="*/ 374 w 374"/>
              <a:gd name="T39" fmla="*/ 301 h 375"/>
              <a:gd name="T40" fmla="*/ 365 w 374"/>
              <a:gd name="T41" fmla="*/ 323 h 375"/>
              <a:gd name="T42" fmla="*/ 322 w 374"/>
              <a:gd name="T43" fmla="*/ 366 h 375"/>
              <a:gd name="T44" fmla="*/ 301 w 374"/>
              <a:gd name="T45" fmla="*/ 375 h 375"/>
              <a:gd name="T46" fmla="*/ 280 w 374"/>
              <a:gd name="T47" fmla="*/ 366 h 375"/>
              <a:gd name="T48" fmla="*/ 187 w 374"/>
              <a:gd name="T49" fmla="*/ 273 h 375"/>
              <a:gd name="T50" fmla="*/ 94 w 374"/>
              <a:gd name="T51" fmla="*/ 366 h 375"/>
              <a:gd name="T52" fmla="*/ 73 w 374"/>
              <a:gd name="T53" fmla="*/ 375 h 375"/>
              <a:gd name="T54" fmla="*/ 51 w 374"/>
              <a:gd name="T55" fmla="*/ 366 h 375"/>
              <a:gd name="T56" fmla="*/ 9 w 374"/>
              <a:gd name="T57" fmla="*/ 32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375">
                <a:moveTo>
                  <a:pt x="9" y="323"/>
                </a:moveTo>
                <a:cubicBezTo>
                  <a:pt x="3" y="317"/>
                  <a:pt x="0" y="310"/>
                  <a:pt x="0" y="301"/>
                </a:cubicBezTo>
                <a:cubicBezTo>
                  <a:pt x="0" y="293"/>
                  <a:pt x="3" y="286"/>
                  <a:pt x="9" y="280"/>
                </a:cubicBezTo>
                <a:lnTo>
                  <a:pt x="101" y="187"/>
                </a:lnTo>
                <a:lnTo>
                  <a:pt x="9" y="95"/>
                </a:lnTo>
                <a:cubicBezTo>
                  <a:pt x="3" y="89"/>
                  <a:pt x="0" y="82"/>
                  <a:pt x="0" y="73"/>
                </a:cubicBezTo>
                <a:cubicBezTo>
                  <a:pt x="0" y="65"/>
                  <a:pt x="3" y="58"/>
                  <a:pt x="9" y="52"/>
                </a:cubicBezTo>
                <a:lnTo>
                  <a:pt x="51" y="9"/>
                </a:lnTo>
                <a:cubicBezTo>
                  <a:pt x="57" y="3"/>
                  <a:pt x="65" y="0"/>
                  <a:pt x="73" y="0"/>
                </a:cubicBezTo>
                <a:cubicBezTo>
                  <a:pt x="81" y="0"/>
                  <a:pt x="88" y="3"/>
                  <a:pt x="94" y="9"/>
                </a:cubicBezTo>
                <a:lnTo>
                  <a:pt x="187" y="102"/>
                </a:lnTo>
                <a:lnTo>
                  <a:pt x="280" y="9"/>
                </a:lnTo>
                <a:cubicBezTo>
                  <a:pt x="285" y="3"/>
                  <a:pt x="293" y="0"/>
                  <a:pt x="301" y="0"/>
                </a:cubicBezTo>
                <a:cubicBezTo>
                  <a:pt x="309" y="0"/>
                  <a:pt x="317" y="3"/>
                  <a:pt x="322" y="9"/>
                </a:cubicBezTo>
                <a:lnTo>
                  <a:pt x="365" y="52"/>
                </a:lnTo>
                <a:cubicBezTo>
                  <a:pt x="371" y="58"/>
                  <a:pt x="374" y="65"/>
                  <a:pt x="374" y="73"/>
                </a:cubicBezTo>
                <a:cubicBezTo>
                  <a:pt x="374" y="82"/>
                  <a:pt x="371" y="89"/>
                  <a:pt x="365" y="95"/>
                </a:cubicBezTo>
                <a:lnTo>
                  <a:pt x="273" y="187"/>
                </a:lnTo>
                <a:lnTo>
                  <a:pt x="365" y="280"/>
                </a:lnTo>
                <a:cubicBezTo>
                  <a:pt x="371" y="286"/>
                  <a:pt x="374" y="293"/>
                  <a:pt x="374" y="301"/>
                </a:cubicBezTo>
                <a:cubicBezTo>
                  <a:pt x="374" y="310"/>
                  <a:pt x="371" y="317"/>
                  <a:pt x="365" y="323"/>
                </a:cubicBezTo>
                <a:lnTo>
                  <a:pt x="322" y="366"/>
                </a:lnTo>
                <a:cubicBezTo>
                  <a:pt x="317" y="372"/>
                  <a:pt x="309" y="375"/>
                  <a:pt x="301" y="375"/>
                </a:cubicBezTo>
                <a:cubicBezTo>
                  <a:pt x="293" y="375"/>
                  <a:pt x="285" y="372"/>
                  <a:pt x="280" y="366"/>
                </a:cubicBezTo>
                <a:lnTo>
                  <a:pt x="187" y="273"/>
                </a:lnTo>
                <a:lnTo>
                  <a:pt x="94" y="366"/>
                </a:lnTo>
                <a:cubicBezTo>
                  <a:pt x="88" y="372"/>
                  <a:pt x="81" y="375"/>
                  <a:pt x="73" y="375"/>
                </a:cubicBezTo>
                <a:cubicBezTo>
                  <a:pt x="65" y="375"/>
                  <a:pt x="57" y="372"/>
                  <a:pt x="51" y="366"/>
                </a:cubicBezTo>
                <a:lnTo>
                  <a:pt x="9" y="32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7" name="Agrupar 6">
            <a:extLst>
              <a:ext uri="{FF2B5EF4-FFF2-40B4-BE49-F238E27FC236}">
                <a16:creationId xmlns:a16="http://schemas.microsoft.com/office/drawing/2014/main" id="{1AEE3E63-1208-C648-8A3E-D046CF733E2F}"/>
              </a:ext>
            </a:extLst>
          </p:cNvPr>
          <p:cNvGrpSpPr/>
          <p:nvPr/>
        </p:nvGrpSpPr>
        <p:grpSpPr>
          <a:xfrm>
            <a:off x="5331616" y="4405619"/>
            <a:ext cx="1240823" cy="1099161"/>
            <a:chOff x="5186876" y="4072607"/>
            <a:chExt cx="1996282" cy="1768371"/>
          </a:xfrm>
        </p:grpSpPr>
        <p:grpSp>
          <p:nvGrpSpPr>
            <p:cNvPr id="48" name="Agrupar 47">
              <a:extLst>
                <a:ext uri="{FF2B5EF4-FFF2-40B4-BE49-F238E27FC236}">
                  <a16:creationId xmlns:a16="http://schemas.microsoft.com/office/drawing/2014/main" id="{B6AF0A4C-39A0-4054-DDA8-BFCBAA5093BA}"/>
                </a:ext>
              </a:extLst>
            </p:cNvPr>
            <p:cNvGrpSpPr/>
            <p:nvPr/>
          </p:nvGrpSpPr>
          <p:grpSpPr>
            <a:xfrm>
              <a:off x="5350377" y="5010418"/>
              <a:ext cx="1801038" cy="830560"/>
              <a:chOff x="6262899" y="3403957"/>
              <a:chExt cx="2492154" cy="1149272"/>
            </a:xfrm>
          </p:grpSpPr>
          <p:pic>
            <p:nvPicPr>
              <p:cNvPr id="59" name="Imagem 58">
                <a:extLst>
                  <a:ext uri="{FF2B5EF4-FFF2-40B4-BE49-F238E27FC236}">
                    <a16:creationId xmlns:a16="http://schemas.microsoft.com/office/drawing/2014/main" id="{261F9422-A585-2358-A442-83DD96C3B21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9306" b="28194"/>
              <a:stretch/>
            </p:blipFill>
            <p:spPr>
              <a:xfrm>
                <a:off x="6494257" y="3553440"/>
                <a:ext cx="1947600" cy="827730"/>
              </a:xfrm>
              <a:prstGeom prst="rect">
                <a:avLst/>
              </a:prstGeom>
            </p:spPr>
          </p:pic>
          <p:pic>
            <p:nvPicPr>
              <p:cNvPr id="60" name="Imagem 59">
                <a:extLst>
                  <a:ext uri="{FF2B5EF4-FFF2-40B4-BE49-F238E27FC236}">
                    <a16:creationId xmlns:a16="http://schemas.microsoft.com/office/drawing/2014/main" id="{05E6D915-EC55-5555-1C30-74683600A6F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7200000">
                <a:off x="6470402" y="4015446"/>
                <a:ext cx="330280" cy="745285"/>
              </a:xfrm>
              <a:prstGeom prst="rect">
                <a:avLst/>
              </a:prstGeom>
            </p:spPr>
          </p:pic>
          <p:pic>
            <p:nvPicPr>
              <p:cNvPr id="61" name="Imagem 60">
                <a:extLst>
                  <a:ext uri="{FF2B5EF4-FFF2-40B4-BE49-F238E27FC236}">
                    <a16:creationId xmlns:a16="http://schemas.microsoft.com/office/drawing/2014/main" id="{416C65E6-15E1-5F2C-4DD4-040899CC0C9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4400000">
                <a:off x="6470403" y="3196454"/>
                <a:ext cx="330280" cy="745285"/>
              </a:xfrm>
              <a:prstGeom prst="rect">
                <a:avLst/>
              </a:prstGeom>
            </p:spPr>
          </p:pic>
          <p:pic>
            <p:nvPicPr>
              <p:cNvPr id="62" name="Imagem 61">
                <a:extLst>
                  <a:ext uri="{FF2B5EF4-FFF2-40B4-BE49-F238E27FC236}">
                    <a16:creationId xmlns:a16="http://schemas.microsoft.com/office/drawing/2014/main" id="{06DBD0DB-0842-518B-B61B-1ECDE3FF1C4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3600000">
                <a:off x="8217271" y="4015446"/>
                <a:ext cx="330280" cy="745285"/>
              </a:xfrm>
              <a:prstGeom prst="rect">
                <a:avLst/>
              </a:prstGeom>
            </p:spPr>
          </p:pic>
          <p:pic>
            <p:nvPicPr>
              <p:cNvPr id="63" name="Imagem 62">
                <a:extLst>
                  <a:ext uri="{FF2B5EF4-FFF2-40B4-BE49-F238E27FC236}">
                    <a16:creationId xmlns:a16="http://schemas.microsoft.com/office/drawing/2014/main" id="{D8E5DAB1-2CB2-3C11-B7C4-F3573E0981D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8000000">
                <a:off x="8217271" y="3196456"/>
                <a:ext cx="330280" cy="745285"/>
              </a:xfrm>
              <a:prstGeom prst="rect">
                <a:avLst/>
              </a:prstGeom>
            </p:spPr>
          </p:pic>
        </p:grpSp>
        <p:pic>
          <p:nvPicPr>
            <p:cNvPr id="49" name="Imagem 48">
              <a:extLst>
                <a:ext uri="{FF2B5EF4-FFF2-40B4-BE49-F238E27FC236}">
                  <a16:creationId xmlns:a16="http://schemas.microsoft.com/office/drawing/2014/main" id="{A1BE56C5-B977-87C8-8BA3-41BCB9F8A3B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53178" y="4130538"/>
              <a:ext cx="929980" cy="929980"/>
            </a:xfrm>
            <a:prstGeom prst="rect">
              <a:avLst/>
            </a:prstGeom>
          </p:spPr>
        </p:pic>
        <p:pic>
          <p:nvPicPr>
            <p:cNvPr id="65" name="Imagem 64">
              <a:extLst>
                <a:ext uri="{FF2B5EF4-FFF2-40B4-BE49-F238E27FC236}">
                  <a16:creationId xmlns:a16="http://schemas.microsoft.com/office/drawing/2014/main" id="{D3B32466-064A-6FD1-2535-70FA7428E9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6876" y="4072607"/>
              <a:ext cx="929981" cy="929981"/>
            </a:xfrm>
            <a:prstGeom prst="rect">
              <a:avLst/>
            </a:prstGeom>
          </p:spPr>
        </p:pic>
      </p:grpSp>
      <p:sp>
        <p:nvSpPr>
          <p:cNvPr id="66" name="Freeform 53">
            <a:extLst>
              <a:ext uri="{FF2B5EF4-FFF2-40B4-BE49-F238E27FC236}">
                <a16:creationId xmlns:a16="http://schemas.microsoft.com/office/drawing/2014/main" id="{920C1626-1EF5-52ED-7BB2-638F1F325561}"/>
              </a:ext>
            </a:extLst>
          </p:cNvPr>
          <p:cNvSpPr>
            <a:spLocks/>
          </p:cNvSpPr>
          <p:nvPr/>
        </p:nvSpPr>
        <p:spPr bwMode="auto">
          <a:xfrm>
            <a:off x="6897717" y="4767779"/>
            <a:ext cx="380791" cy="374841"/>
          </a:xfrm>
          <a:custGeom>
            <a:avLst/>
            <a:gdLst>
              <a:gd name="T0" fmla="*/ 9 w 374"/>
              <a:gd name="T1" fmla="*/ 323 h 375"/>
              <a:gd name="T2" fmla="*/ 0 w 374"/>
              <a:gd name="T3" fmla="*/ 301 h 375"/>
              <a:gd name="T4" fmla="*/ 9 w 374"/>
              <a:gd name="T5" fmla="*/ 280 h 375"/>
              <a:gd name="T6" fmla="*/ 101 w 374"/>
              <a:gd name="T7" fmla="*/ 187 h 375"/>
              <a:gd name="T8" fmla="*/ 9 w 374"/>
              <a:gd name="T9" fmla="*/ 95 h 375"/>
              <a:gd name="T10" fmla="*/ 0 w 374"/>
              <a:gd name="T11" fmla="*/ 73 h 375"/>
              <a:gd name="T12" fmla="*/ 9 w 374"/>
              <a:gd name="T13" fmla="*/ 52 h 375"/>
              <a:gd name="T14" fmla="*/ 51 w 374"/>
              <a:gd name="T15" fmla="*/ 9 h 375"/>
              <a:gd name="T16" fmla="*/ 73 w 374"/>
              <a:gd name="T17" fmla="*/ 0 h 375"/>
              <a:gd name="T18" fmla="*/ 94 w 374"/>
              <a:gd name="T19" fmla="*/ 9 h 375"/>
              <a:gd name="T20" fmla="*/ 187 w 374"/>
              <a:gd name="T21" fmla="*/ 102 h 375"/>
              <a:gd name="T22" fmla="*/ 280 w 374"/>
              <a:gd name="T23" fmla="*/ 9 h 375"/>
              <a:gd name="T24" fmla="*/ 301 w 374"/>
              <a:gd name="T25" fmla="*/ 0 h 375"/>
              <a:gd name="T26" fmla="*/ 322 w 374"/>
              <a:gd name="T27" fmla="*/ 9 h 375"/>
              <a:gd name="T28" fmla="*/ 365 w 374"/>
              <a:gd name="T29" fmla="*/ 52 h 375"/>
              <a:gd name="T30" fmla="*/ 374 w 374"/>
              <a:gd name="T31" fmla="*/ 73 h 375"/>
              <a:gd name="T32" fmla="*/ 365 w 374"/>
              <a:gd name="T33" fmla="*/ 95 h 375"/>
              <a:gd name="T34" fmla="*/ 273 w 374"/>
              <a:gd name="T35" fmla="*/ 187 h 375"/>
              <a:gd name="T36" fmla="*/ 365 w 374"/>
              <a:gd name="T37" fmla="*/ 280 h 375"/>
              <a:gd name="T38" fmla="*/ 374 w 374"/>
              <a:gd name="T39" fmla="*/ 301 h 375"/>
              <a:gd name="T40" fmla="*/ 365 w 374"/>
              <a:gd name="T41" fmla="*/ 323 h 375"/>
              <a:gd name="T42" fmla="*/ 322 w 374"/>
              <a:gd name="T43" fmla="*/ 366 h 375"/>
              <a:gd name="T44" fmla="*/ 301 w 374"/>
              <a:gd name="T45" fmla="*/ 375 h 375"/>
              <a:gd name="T46" fmla="*/ 280 w 374"/>
              <a:gd name="T47" fmla="*/ 366 h 375"/>
              <a:gd name="T48" fmla="*/ 187 w 374"/>
              <a:gd name="T49" fmla="*/ 273 h 375"/>
              <a:gd name="T50" fmla="*/ 94 w 374"/>
              <a:gd name="T51" fmla="*/ 366 h 375"/>
              <a:gd name="T52" fmla="*/ 73 w 374"/>
              <a:gd name="T53" fmla="*/ 375 h 375"/>
              <a:gd name="T54" fmla="*/ 51 w 374"/>
              <a:gd name="T55" fmla="*/ 366 h 375"/>
              <a:gd name="T56" fmla="*/ 9 w 374"/>
              <a:gd name="T57" fmla="*/ 32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375">
                <a:moveTo>
                  <a:pt x="9" y="323"/>
                </a:moveTo>
                <a:cubicBezTo>
                  <a:pt x="3" y="317"/>
                  <a:pt x="0" y="310"/>
                  <a:pt x="0" y="301"/>
                </a:cubicBezTo>
                <a:cubicBezTo>
                  <a:pt x="0" y="293"/>
                  <a:pt x="3" y="286"/>
                  <a:pt x="9" y="280"/>
                </a:cubicBezTo>
                <a:lnTo>
                  <a:pt x="101" y="187"/>
                </a:lnTo>
                <a:lnTo>
                  <a:pt x="9" y="95"/>
                </a:lnTo>
                <a:cubicBezTo>
                  <a:pt x="3" y="89"/>
                  <a:pt x="0" y="82"/>
                  <a:pt x="0" y="73"/>
                </a:cubicBezTo>
                <a:cubicBezTo>
                  <a:pt x="0" y="65"/>
                  <a:pt x="3" y="58"/>
                  <a:pt x="9" y="52"/>
                </a:cubicBezTo>
                <a:lnTo>
                  <a:pt x="51" y="9"/>
                </a:lnTo>
                <a:cubicBezTo>
                  <a:pt x="57" y="3"/>
                  <a:pt x="65" y="0"/>
                  <a:pt x="73" y="0"/>
                </a:cubicBezTo>
                <a:cubicBezTo>
                  <a:pt x="81" y="0"/>
                  <a:pt x="88" y="3"/>
                  <a:pt x="94" y="9"/>
                </a:cubicBezTo>
                <a:lnTo>
                  <a:pt x="187" y="102"/>
                </a:lnTo>
                <a:lnTo>
                  <a:pt x="280" y="9"/>
                </a:lnTo>
                <a:cubicBezTo>
                  <a:pt x="285" y="3"/>
                  <a:pt x="293" y="0"/>
                  <a:pt x="301" y="0"/>
                </a:cubicBezTo>
                <a:cubicBezTo>
                  <a:pt x="309" y="0"/>
                  <a:pt x="317" y="3"/>
                  <a:pt x="322" y="9"/>
                </a:cubicBezTo>
                <a:lnTo>
                  <a:pt x="365" y="52"/>
                </a:lnTo>
                <a:cubicBezTo>
                  <a:pt x="371" y="58"/>
                  <a:pt x="374" y="65"/>
                  <a:pt x="374" y="73"/>
                </a:cubicBezTo>
                <a:cubicBezTo>
                  <a:pt x="374" y="82"/>
                  <a:pt x="371" y="89"/>
                  <a:pt x="365" y="95"/>
                </a:cubicBezTo>
                <a:lnTo>
                  <a:pt x="273" y="187"/>
                </a:lnTo>
                <a:lnTo>
                  <a:pt x="365" y="280"/>
                </a:lnTo>
                <a:cubicBezTo>
                  <a:pt x="371" y="286"/>
                  <a:pt x="374" y="293"/>
                  <a:pt x="374" y="301"/>
                </a:cubicBezTo>
                <a:cubicBezTo>
                  <a:pt x="374" y="310"/>
                  <a:pt x="371" y="317"/>
                  <a:pt x="365" y="323"/>
                </a:cubicBezTo>
                <a:lnTo>
                  <a:pt x="322" y="366"/>
                </a:lnTo>
                <a:cubicBezTo>
                  <a:pt x="317" y="372"/>
                  <a:pt x="309" y="375"/>
                  <a:pt x="301" y="375"/>
                </a:cubicBezTo>
                <a:cubicBezTo>
                  <a:pt x="293" y="375"/>
                  <a:pt x="285" y="372"/>
                  <a:pt x="280" y="366"/>
                </a:cubicBezTo>
                <a:lnTo>
                  <a:pt x="187" y="273"/>
                </a:lnTo>
                <a:lnTo>
                  <a:pt x="94" y="366"/>
                </a:lnTo>
                <a:cubicBezTo>
                  <a:pt x="88" y="372"/>
                  <a:pt x="81" y="375"/>
                  <a:pt x="73" y="375"/>
                </a:cubicBezTo>
                <a:cubicBezTo>
                  <a:pt x="65" y="375"/>
                  <a:pt x="57" y="372"/>
                  <a:pt x="51" y="366"/>
                </a:cubicBezTo>
                <a:lnTo>
                  <a:pt x="9" y="32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68" name="Agrupar 67">
            <a:extLst>
              <a:ext uri="{FF2B5EF4-FFF2-40B4-BE49-F238E27FC236}">
                <a16:creationId xmlns:a16="http://schemas.microsoft.com/office/drawing/2014/main" id="{6AF02793-B8BE-7503-9F68-FFCB6DAA7A2E}"/>
              </a:ext>
            </a:extLst>
          </p:cNvPr>
          <p:cNvGrpSpPr/>
          <p:nvPr/>
        </p:nvGrpSpPr>
        <p:grpSpPr>
          <a:xfrm>
            <a:off x="7551961" y="4553791"/>
            <a:ext cx="1546226" cy="802816"/>
            <a:chOff x="7656768" y="4324882"/>
            <a:chExt cx="1376426" cy="714654"/>
          </a:xfrm>
        </p:grpSpPr>
        <p:pic>
          <p:nvPicPr>
            <p:cNvPr id="9" name="Gráfico 8">
              <a:extLst>
                <a:ext uri="{FF2B5EF4-FFF2-40B4-BE49-F238E27FC236}">
                  <a16:creationId xmlns:a16="http://schemas.microsoft.com/office/drawing/2014/main" id="{1E5AAE7D-BB56-975B-F4C8-8D316D038E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0321070">
              <a:off x="7656768" y="4324882"/>
              <a:ext cx="661345" cy="684150"/>
            </a:xfrm>
            <a:prstGeom prst="rect">
              <a:avLst/>
            </a:prstGeom>
          </p:spPr>
        </p:pic>
        <p:pic>
          <p:nvPicPr>
            <p:cNvPr id="67" name="Gráfico 66">
              <a:extLst>
                <a:ext uri="{FF2B5EF4-FFF2-40B4-BE49-F238E27FC236}">
                  <a16:creationId xmlns:a16="http://schemas.microsoft.com/office/drawing/2014/main" id="{0AFEAE35-C13E-49F4-6E2A-1900D0C65E1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843262">
              <a:off x="8371849" y="4355386"/>
              <a:ext cx="661345" cy="684150"/>
            </a:xfrm>
            <a:prstGeom prst="rect">
              <a:avLst/>
            </a:prstGeom>
          </p:spPr>
        </p:pic>
      </p:grpSp>
      <p:sp>
        <p:nvSpPr>
          <p:cNvPr id="70" name="Retângulo 69">
            <a:extLst>
              <a:ext uri="{FF2B5EF4-FFF2-40B4-BE49-F238E27FC236}">
                <a16:creationId xmlns:a16="http://schemas.microsoft.com/office/drawing/2014/main" id="{1A5EF217-43A6-C696-79D3-FDE45189FF86}"/>
              </a:ext>
            </a:extLst>
          </p:cNvPr>
          <p:cNvSpPr/>
          <p:nvPr/>
        </p:nvSpPr>
        <p:spPr>
          <a:xfrm>
            <a:off x="334950" y="792000"/>
            <a:ext cx="4385282"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000095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Conclusion and outlook: </a:t>
            </a:r>
            <a:r>
              <a:rPr lang="en-US" b="0" i="1" dirty="0"/>
              <a:t>Outlook</a:t>
            </a:r>
          </a:p>
        </p:txBody>
      </p:sp>
    </p:spTree>
    <p:extLst>
      <p:ext uri="{BB962C8B-B14F-4D97-AF65-F5344CB8AC3E}">
        <p14:creationId xmlns:p14="http://schemas.microsoft.com/office/powerpoint/2010/main" val="247227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721"/>
        <p:cNvGrpSpPr/>
        <p:nvPr/>
      </p:nvGrpSpPr>
      <p:grpSpPr>
        <a:xfrm>
          <a:off x="0" y="0"/>
          <a:ext cx="0" cy="0"/>
          <a:chOff x="0" y="0"/>
          <a:chExt cx="0" cy="0"/>
        </a:xfrm>
      </p:grpSpPr>
      <p:sp>
        <p:nvSpPr>
          <p:cNvPr id="722" name="Google Shape;722;p60"/>
          <p:cNvSpPr txBox="1">
            <a:spLocks noGrp="1"/>
          </p:cNvSpPr>
          <p:nvPr>
            <p:ph type="body" idx="1"/>
          </p:nvPr>
        </p:nvSpPr>
        <p:spPr>
          <a:xfrm>
            <a:off x="3854220" y="3508335"/>
            <a:ext cx="5471999" cy="770965"/>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rgbClr val="193278"/>
              </a:buClr>
              <a:buSzPts val="3600"/>
              <a:buNone/>
            </a:pPr>
            <a:r>
              <a:rPr lang="en-US" dirty="0"/>
              <a:t>Thank</a:t>
            </a:r>
            <a:r>
              <a:rPr lang="pt-BR" dirty="0"/>
              <a:t> </a:t>
            </a:r>
            <a:r>
              <a:rPr lang="pt-BR" dirty="0" err="1"/>
              <a:t>You</a:t>
            </a:r>
            <a:r>
              <a:rPr lang="pt-BR" dirty="0"/>
              <a:t>!</a:t>
            </a:r>
            <a:endParaRPr dirty="0"/>
          </a:p>
        </p:txBody>
      </p:sp>
      <p:sp>
        <p:nvSpPr>
          <p:cNvPr id="723" name="Google Shape;723;p60"/>
          <p:cNvSpPr txBox="1">
            <a:spLocks noGrp="1"/>
          </p:cNvSpPr>
          <p:nvPr>
            <p:ph type="body" idx="2"/>
          </p:nvPr>
        </p:nvSpPr>
        <p:spPr>
          <a:xfrm>
            <a:off x="3959244" y="4913971"/>
            <a:ext cx="5471999" cy="842216"/>
          </a:xfrm>
          <a:prstGeom prst="rect">
            <a:avLst/>
          </a:prstGeom>
          <a:noFill/>
          <a:ln>
            <a:noFill/>
          </a:ln>
        </p:spPr>
        <p:txBody>
          <a:bodyPr spcFirstLastPara="1" wrap="square" lIns="91425" tIns="45700" rIns="91425" bIns="45700" anchor="t" anchorCtr="0">
            <a:noAutofit/>
          </a:bodyPr>
          <a:lstStyle/>
          <a:p>
            <a:pPr marL="0" marR="0" lvl="0" indent="0" algn="r" rtl="0">
              <a:lnSpc>
                <a:spcPct val="90000"/>
              </a:lnSpc>
              <a:spcBef>
                <a:spcPts val="1000"/>
              </a:spcBef>
              <a:spcAft>
                <a:spcPts val="0"/>
              </a:spcAft>
              <a:buClr>
                <a:srgbClr val="555555"/>
              </a:buClr>
              <a:buSzPts val="1800"/>
              <a:buFont typeface="Arial"/>
              <a:buNone/>
            </a:pPr>
            <a:r>
              <a:rPr lang="pt-BR" dirty="0">
                <a:solidFill>
                  <a:srgbClr val="555555"/>
                </a:solidFill>
              </a:rPr>
              <a:t>Ivan de Souza Rehder</a:t>
            </a:r>
            <a:endParaRPr dirty="0">
              <a:solidFill>
                <a:srgbClr val="555555"/>
              </a:solidFill>
            </a:endParaRPr>
          </a:p>
          <a:p>
            <a:pPr marL="0" marR="0" lvl="0" indent="0" algn="r" rtl="0">
              <a:lnSpc>
                <a:spcPct val="90000"/>
              </a:lnSpc>
              <a:spcBef>
                <a:spcPts val="1000"/>
              </a:spcBef>
              <a:spcAft>
                <a:spcPts val="0"/>
              </a:spcAft>
              <a:buClr>
                <a:srgbClr val="555555"/>
              </a:buClr>
              <a:buSzPts val="1800"/>
              <a:buFont typeface="Arial"/>
              <a:buNone/>
            </a:pPr>
            <a:r>
              <a:rPr lang="pt-BR" b="0" dirty="0">
                <a:solidFill>
                  <a:srgbClr val="555555"/>
                </a:solidFill>
              </a:rPr>
              <a:t>ivan@ita.br / (55-12) 3947-5779</a:t>
            </a:r>
            <a:endParaRPr dirty="0"/>
          </a:p>
          <a:p>
            <a:pPr marL="0" marR="0" lvl="0" indent="0" algn="r" rtl="0">
              <a:lnSpc>
                <a:spcPct val="90000"/>
              </a:lnSpc>
              <a:spcBef>
                <a:spcPts val="1000"/>
              </a:spcBef>
              <a:spcAft>
                <a:spcPts val="0"/>
              </a:spcAft>
              <a:buClr>
                <a:srgbClr val="555555"/>
              </a:buClr>
              <a:buSzPts val="1800"/>
              <a:buFont typeface="Arial"/>
              <a:buNone/>
            </a:pPr>
            <a:endParaRPr dirty="0"/>
          </a:p>
        </p:txBody>
      </p:sp>
      <p:sp>
        <p:nvSpPr>
          <p:cNvPr id="4" name="Google Shape;4654;p52">
            <a:extLst>
              <a:ext uri="{FF2B5EF4-FFF2-40B4-BE49-F238E27FC236}">
                <a16:creationId xmlns:a16="http://schemas.microsoft.com/office/drawing/2014/main" id="{DEC15BEB-7005-7531-0DC1-2DB51A76D659}"/>
              </a:ext>
            </a:extLst>
          </p:cNvPr>
          <p:cNvSpPr txBox="1">
            <a:spLocks/>
          </p:cNvSpPr>
          <p:nvPr/>
        </p:nvSpPr>
        <p:spPr>
          <a:xfrm>
            <a:off x="3854220" y="453853"/>
            <a:ext cx="5471999" cy="77096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228600" algn="ctr" rtl="0">
              <a:lnSpc>
                <a:spcPct val="90000"/>
              </a:lnSpc>
              <a:spcBef>
                <a:spcPts val="1000"/>
              </a:spcBef>
              <a:spcAft>
                <a:spcPts val="0"/>
              </a:spcAft>
              <a:buClr>
                <a:srgbClr val="193278"/>
              </a:buClr>
              <a:buSzPts val="3600"/>
              <a:buFont typeface="Arial"/>
              <a:buNone/>
              <a:defRPr sz="3600" b="1" i="0" u="none" strike="noStrike" cap="none">
                <a:solidFill>
                  <a:srgbClr val="193278"/>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SzPts val="3330"/>
            </a:pPr>
            <a:r>
              <a:rPr lang="en-US" sz="3330"/>
              <a:t>Acknowledgments</a:t>
            </a:r>
            <a:endParaRPr lang="en-US" dirty="0"/>
          </a:p>
        </p:txBody>
      </p:sp>
      <p:pic>
        <p:nvPicPr>
          <p:cNvPr id="5" name="Picture 1">
            <a:extLst>
              <a:ext uri="{FF2B5EF4-FFF2-40B4-BE49-F238E27FC236}">
                <a16:creationId xmlns:a16="http://schemas.microsoft.com/office/drawing/2014/main" id="{53AEE477-C379-9B7E-821F-03ABAE81E6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9244" y="1310704"/>
            <a:ext cx="2754894" cy="857285"/>
          </a:xfrm>
          <a:prstGeom prst="rect">
            <a:avLst/>
          </a:prstGeom>
        </p:spPr>
      </p:pic>
      <p:pic>
        <p:nvPicPr>
          <p:cNvPr id="1026" name="Picture 2" descr="logo original fundo claro">
            <a:extLst>
              <a:ext uri="{FF2B5EF4-FFF2-40B4-BE49-F238E27FC236}">
                <a16:creationId xmlns:a16="http://schemas.microsoft.com/office/drawing/2014/main" id="{45F415CC-ACE2-1B13-E8B2-FBA58E577F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9842" y="1224818"/>
            <a:ext cx="1169094" cy="108240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03219" y="2984326"/>
            <a:ext cx="2991601" cy="3034338"/>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Agrupar 25">
            <a:extLst>
              <a:ext uri="{FF2B5EF4-FFF2-40B4-BE49-F238E27FC236}">
                <a16:creationId xmlns:a16="http://schemas.microsoft.com/office/drawing/2014/main" id="{0E5276EB-5BDD-0FA7-1C1C-69968CA518AB}"/>
              </a:ext>
            </a:extLst>
          </p:cNvPr>
          <p:cNvGrpSpPr/>
          <p:nvPr/>
        </p:nvGrpSpPr>
        <p:grpSpPr>
          <a:xfrm>
            <a:off x="528161" y="791999"/>
            <a:ext cx="2199604" cy="1884684"/>
            <a:chOff x="528161" y="791999"/>
            <a:chExt cx="2199604" cy="1884684"/>
          </a:xfrm>
        </p:grpSpPr>
        <p:sp>
          <p:nvSpPr>
            <p:cNvPr id="27" name="Retângulo 26">
              <a:extLst>
                <a:ext uri="{FF2B5EF4-FFF2-40B4-BE49-F238E27FC236}">
                  <a16:creationId xmlns:a16="http://schemas.microsoft.com/office/drawing/2014/main" id="{C57E24D5-33C8-6F53-BC38-8982580A83A1}"/>
                </a:ext>
              </a:extLst>
            </p:cNvPr>
            <p:cNvSpPr/>
            <p:nvPr/>
          </p:nvSpPr>
          <p:spPr>
            <a:xfrm>
              <a:off x="528161" y="791999"/>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83041D98-CA91-7B7A-5346-4BA7F53B9CBC}"/>
                </a:ext>
              </a:extLst>
            </p:cNvPr>
            <p:cNvPicPr>
              <a:picLocks noChangeAspect="1"/>
            </p:cNvPicPr>
            <p:nvPr/>
          </p:nvPicPr>
          <p:blipFill>
            <a:blip r:embed="rId4"/>
            <a:stretch>
              <a:fillRect/>
            </a:stretch>
          </p:blipFill>
          <p:spPr>
            <a:xfrm>
              <a:off x="758922" y="892951"/>
              <a:ext cx="1679477" cy="1679477"/>
            </a:xfrm>
            <a:prstGeom prst="rect">
              <a:avLst/>
            </a:prstGeom>
          </p:spPr>
        </p:pic>
      </p:grpSp>
      <p:grpSp>
        <p:nvGrpSpPr>
          <p:cNvPr id="35" name="Agrupar 34">
            <a:extLst>
              <a:ext uri="{FF2B5EF4-FFF2-40B4-BE49-F238E27FC236}">
                <a16:creationId xmlns:a16="http://schemas.microsoft.com/office/drawing/2014/main" id="{CC2011BB-7EC1-AF49-613C-0D9D92FCF485}"/>
              </a:ext>
            </a:extLst>
          </p:cNvPr>
          <p:cNvGrpSpPr/>
          <p:nvPr/>
        </p:nvGrpSpPr>
        <p:grpSpPr>
          <a:xfrm>
            <a:off x="3808994" y="792000"/>
            <a:ext cx="2288323" cy="1884684"/>
            <a:chOff x="3404329" y="792000"/>
            <a:chExt cx="2288323" cy="1884684"/>
          </a:xfrm>
        </p:grpSpPr>
        <p:sp>
          <p:nvSpPr>
            <p:cNvPr id="28" name="Retângulo 27">
              <a:extLst>
                <a:ext uri="{FF2B5EF4-FFF2-40B4-BE49-F238E27FC236}">
                  <a16:creationId xmlns:a16="http://schemas.microsoft.com/office/drawing/2014/main" id="{2EEAE1E1-4DE4-6D0A-19E3-D945EE098F64}"/>
                </a:ext>
              </a:extLst>
            </p:cNvPr>
            <p:cNvSpPr/>
            <p:nvPr/>
          </p:nvSpPr>
          <p:spPr>
            <a:xfrm>
              <a:off x="3406716"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 name="Imagem 8">
              <a:extLst>
                <a:ext uri="{FF2B5EF4-FFF2-40B4-BE49-F238E27FC236}">
                  <a16:creationId xmlns:a16="http://schemas.microsoft.com/office/drawing/2014/main" id="{A3078529-0506-865D-669E-BDCF15119B00}"/>
                </a:ext>
              </a:extLst>
            </p:cNvPr>
            <p:cNvPicPr>
              <a:picLocks noChangeAspect="1"/>
            </p:cNvPicPr>
            <p:nvPr/>
          </p:nvPicPr>
          <p:blipFill>
            <a:blip r:embed="rId5"/>
            <a:stretch>
              <a:fillRect/>
            </a:stretch>
          </p:blipFill>
          <p:spPr>
            <a:xfrm>
              <a:off x="3702189" y="1378486"/>
              <a:ext cx="1298198" cy="1298198"/>
            </a:xfrm>
            <a:prstGeom prst="rect">
              <a:avLst/>
            </a:prstGeom>
          </p:spPr>
        </p:pic>
        <p:pic>
          <p:nvPicPr>
            <p:cNvPr id="11" name="Imagem 10">
              <a:extLst>
                <a:ext uri="{FF2B5EF4-FFF2-40B4-BE49-F238E27FC236}">
                  <a16:creationId xmlns:a16="http://schemas.microsoft.com/office/drawing/2014/main" id="{B3E1AF1B-6B5F-70BF-5079-C87DD01CB9CD}"/>
                </a:ext>
              </a:extLst>
            </p:cNvPr>
            <p:cNvPicPr>
              <a:picLocks noChangeAspect="1"/>
            </p:cNvPicPr>
            <p:nvPr/>
          </p:nvPicPr>
          <p:blipFill>
            <a:blip r:embed="rId6"/>
            <a:stretch>
              <a:fillRect/>
            </a:stretch>
          </p:blipFill>
          <p:spPr>
            <a:xfrm>
              <a:off x="4962725" y="792000"/>
              <a:ext cx="729927" cy="729927"/>
            </a:xfrm>
            <a:prstGeom prst="rect">
              <a:avLst/>
            </a:prstGeom>
          </p:spPr>
        </p:pic>
        <p:pic>
          <p:nvPicPr>
            <p:cNvPr id="13" name="Imagem 12">
              <a:extLst>
                <a:ext uri="{FF2B5EF4-FFF2-40B4-BE49-F238E27FC236}">
                  <a16:creationId xmlns:a16="http://schemas.microsoft.com/office/drawing/2014/main" id="{2D51B37D-2DD7-9FB5-FDCA-789969FCEC86}"/>
                </a:ext>
              </a:extLst>
            </p:cNvPr>
            <p:cNvPicPr>
              <a:picLocks noChangeAspect="1"/>
            </p:cNvPicPr>
            <p:nvPr/>
          </p:nvPicPr>
          <p:blipFill>
            <a:blip r:embed="rId7"/>
            <a:stretch>
              <a:fillRect/>
            </a:stretch>
          </p:blipFill>
          <p:spPr>
            <a:xfrm>
              <a:off x="3404329" y="792000"/>
              <a:ext cx="729927" cy="729927"/>
            </a:xfrm>
            <a:prstGeom prst="rect">
              <a:avLst/>
            </a:prstGeom>
          </p:spPr>
        </p:pic>
      </p:grpSp>
      <p:grpSp>
        <p:nvGrpSpPr>
          <p:cNvPr id="36" name="Agrupar 35">
            <a:extLst>
              <a:ext uri="{FF2B5EF4-FFF2-40B4-BE49-F238E27FC236}">
                <a16:creationId xmlns:a16="http://schemas.microsoft.com/office/drawing/2014/main" id="{15F65990-EC6F-3854-5B71-F20121FB2B81}"/>
              </a:ext>
            </a:extLst>
          </p:cNvPr>
          <p:cNvGrpSpPr/>
          <p:nvPr/>
        </p:nvGrpSpPr>
        <p:grpSpPr>
          <a:xfrm>
            <a:off x="7178545" y="792000"/>
            <a:ext cx="2199604" cy="1884684"/>
            <a:chOff x="7178545" y="792000"/>
            <a:chExt cx="2199604" cy="1884684"/>
          </a:xfrm>
        </p:grpSpPr>
        <p:sp>
          <p:nvSpPr>
            <p:cNvPr id="34" name="Retângulo 33">
              <a:extLst>
                <a:ext uri="{FF2B5EF4-FFF2-40B4-BE49-F238E27FC236}">
                  <a16:creationId xmlns:a16="http://schemas.microsoft.com/office/drawing/2014/main" id="{C478762D-68B7-B3A8-BE24-A7FFE0E434AF}"/>
                </a:ext>
              </a:extLst>
            </p:cNvPr>
            <p:cNvSpPr/>
            <p:nvPr/>
          </p:nvSpPr>
          <p:spPr>
            <a:xfrm>
              <a:off x="7178545"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7" name="Imagem 16">
              <a:extLst>
                <a:ext uri="{FF2B5EF4-FFF2-40B4-BE49-F238E27FC236}">
                  <a16:creationId xmlns:a16="http://schemas.microsoft.com/office/drawing/2014/main" id="{E21EF773-9985-5393-1A06-BC9500D5C688}"/>
                </a:ext>
              </a:extLst>
            </p:cNvPr>
            <p:cNvPicPr>
              <a:picLocks noChangeAspect="1"/>
            </p:cNvPicPr>
            <p:nvPr/>
          </p:nvPicPr>
          <p:blipFill>
            <a:blip r:embed="rId8"/>
            <a:stretch>
              <a:fillRect/>
            </a:stretch>
          </p:blipFill>
          <p:spPr>
            <a:xfrm>
              <a:off x="7838831" y="1734342"/>
              <a:ext cx="879032" cy="879032"/>
            </a:xfrm>
            <a:prstGeom prst="rect">
              <a:avLst/>
            </a:prstGeom>
          </p:spPr>
        </p:pic>
        <p:pic>
          <p:nvPicPr>
            <p:cNvPr id="19" name="Imagem 18">
              <a:extLst>
                <a:ext uri="{FF2B5EF4-FFF2-40B4-BE49-F238E27FC236}">
                  <a16:creationId xmlns:a16="http://schemas.microsoft.com/office/drawing/2014/main" id="{CDF15F5E-D50F-00F5-75BE-3E2A24B5E326}"/>
                </a:ext>
              </a:extLst>
            </p:cNvPr>
            <p:cNvPicPr>
              <a:picLocks noChangeAspect="1"/>
            </p:cNvPicPr>
            <p:nvPr/>
          </p:nvPicPr>
          <p:blipFill>
            <a:blip r:embed="rId9"/>
            <a:stretch>
              <a:fillRect/>
            </a:stretch>
          </p:blipFill>
          <p:spPr>
            <a:xfrm>
              <a:off x="7242988" y="892952"/>
              <a:ext cx="879032" cy="879032"/>
            </a:xfrm>
            <a:prstGeom prst="rect">
              <a:avLst/>
            </a:prstGeom>
          </p:spPr>
        </p:pic>
        <p:pic>
          <p:nvPicPr>
            <p:cNvPr id="22" name="Imagem 21">
              <a:extLst>
                <a:ext uri="{FF2B5EF4-FFF2-40B4-BE49-F238E27FC236}">
                  <a16:creationId xmlns:a16="http://schemas.microsoft.com/office/drawing/2014/main" id="{07EE1A52-30F5-2726-0FB8-E2ABDE1188C1}"/>
                </a:ext>
              </a:extLst>
            </p:cNvPr>
            <p:cNvPicPr>
              <a:picLocks noChangeAspect="1"/>
            </p:cNvPicPr>
            <p:nvPr/>
          </p:nvPicPr>
          <p:blipFill>
            <a:blip r:embed="rId10"/>
            <a:stretch>
              <a:fillRect/>
            </a:stretch>
          </p:blipFill>
          <p:spPr>
            <a:xfrm>
              <a:off x="8389744" y="877721"/>
              <a:ext cx="879032" cy="879032"/>
            </a:xfrm>
            <a:prstGeom prst="rect">
              <a:avLst/>
            </a:prstGeom>
          </p:spPr>
        </p:pic>
      </p:grpSp>
    </p:spTree>
    <p:extLst>
      <p:ext uri="{BB962C8B-B14F-4D97-AF65-F5344CB8AC3E}">
        <p14:creationId xmlns:p14="http://schemas.microsoft.com/office/powerpoint/2010/main" val="31871260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4949" y="2984326"/>
            <a:ext cx="2991601" cy="3034338"/>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Agrupar 34">
            <a:extLst>
              <a:ext uri="{FF2B5EF4-FFF2-40B4-BE49-F238E27FC236}">
                <a16:creationId xmlns:a16="http://schemas.microsoft.com/office/drawing/2014/main" id="{CC2011BB-7EC1-AF49-613C-0D9D92FCF485}"/>
              </a:ext>
            </a:extLst>
          </p:cNvPr>
          <p:cNvGrpSpPr/>
          <p:nvPr/>
        </p:nvGrpSpPr>
        <p:grpSpPr>
          <a:xfrm>
            <a:off x="3808994" y="792000"/>
            <a:ext cx="2288323" cy="1884684"/>
            <a:chOff x="3404329" y="792000"/>
            <a:chExt cx="2288323" cy="1884684"/>
          </a:xfrm>
        </p:grpSpPr>
        <p:sp>
          <p:nvSpPr>
            <p:cNvPr id="28" name="Retângulo 27">
              <a:extLst>
                <a:ext uri="{FF2B5EF4-FFF2-40B4-BE49-F238E27FC236}">
                  <a16:creationId xmlns:a16="http://schemas.microsoft.com/office/drawing/2014/main" id="{2EEAE1E1-4DE4-6D0A-19E3-D945EE098F64}"/>
                </a:ext>
              </a:extLst>
            </p:cNvPr>
            <p:cNvSpPr/>
            <p:nvPr/>
          </p:nvSpPr>
          <p:spPr>
            <a:xfrm>
              <a:off x="3406716"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 name="Imagem 8">
              <a:extLst>
                <a:ext uri="{FF2B5EF4-FFF2-40B4-BE49-F238E27FC236}">
                  <a16:creationId xmlns:a16="http://schemas.microsoft.com/office/drawing/2014/main" id="{A3078529-0506-865D-669E-BDCF15119B00}"/>
                </a:ext>
              </a:extLst>
            </p:cNvPr>
            <p:cNvPicPr>
              <a:picLocks noChangeAspect="1"/>
            </p:cNvPicPr>
            <p:nvPr/>
          </p:nvPicPr>
          <p:blipFill>
            <a:blip r:embed="rId4"/>
            <a:stretch>
              <a:fillRect/>
            </a:stretch>
          </p:blipFill>
          <p:spPr>
            <a:xfrm>
              <a:off x="3702189" y="1378486"/>
              <a:ext cx="1298198" cy="1298198"/>
            </a:xfrm>
            <a:prstGeom prst="rect">
              <a:avLst/>
            </a:prstGeom>
          </p:spPr>
        </p:pic>
        <p:pic>
          <p:nvPicPr>
            <p:cNvPr id="11" name="Imagem 10">
              <a:extLst>
                <a:ext uri="{FF2B5EF4-FFF2-40B4-BE49-F238E27FC236}">
                  <a16:creationId xmlns:a16="http://schemas.microsoft.com/office/drawing/2014/main" id="{B3E1AF1B-6B5F-70BF-5079-C87DD01CB9CD}"/>
                </a:ext>
              </a:extLst>
            </p:cNvPr>
            <p:cNvPicPr>
              <a:picLocks noChangeAspect="1"/>
            </p:cNvPicPr>
            <p:nvPr/>
          </p:nvPicPr>
          <p:blipFill>
            <a:blip r:embed="rId5"/>
            <a:stretch>
              <a:fillRect/>
            </a:stretch>
          </p:blipFill>
          <p:spPr>
            <a:xfrm>
              <a:off x="4962725" y="792000"/>
              <a:ext cx="729927" cy="729927"/>
            </a:xfrm>
            <a:prstGeom prst="rect">
              <a:avLst/>
            </a:prstGeom>
          </p:spPr>
        </p:pic>
        <p:pic>
          <p:nvPicPr>
            <p:cNvPr id="13" name="Imagem 12">
              <a:extLst>
                <a:ext uri="{FF2B5EF4-FFF2-40B4-BE49-F238E27FC236}">
                  <a16:creationId xmlns:a16="http://schemas.microsoft.com/office/drawing/2014/main" id="{2D51B37D-2DD7-9FB5-FDCA-789969FCEC86}"/>
                </a:ext>
              </a:extLst>
            </p:cNvPr>
            <p:cNvPicPr>
              <a:picLocks noChangeAspect="1"/>
            </p:cNvPicPr>
            <p:nvPr/>
          </p:nvPicPr>
          <p:blipFill>
            <a:blip r:embed="rId6"/>
            <a:stretch>
              <a:fillRect/>
            </a:stretch>
          </p:blipFill>
          <p:spPr>
            <a:xfrm>
              <a:off x="3404329" y="792000"/>
              <a:ext cx="729927" cy="729927"/>
            </a:xfrm>
            <a:prstGeom prst="rect">
              <a:avLst/>
            </a:prstGeom>
          </p:spPr>
        </p:pic>
      </p:grpSp>
      <p:grpSp>
        <p:nvGrpSpPr>
          <p:cNvPr id="36" name="Agrupar 35">
            <a:extLst>
              <a:ext uri="{FF2B5EF4-FFF2-40B4-BE49-F238E27FC236}">
                <a16:creationId xmlns:a16="http://schemas.microsoft.com/office/drawing/2014/main" id="{15F65990-EC6F-3854-5B71-F20121FB2B81}"/>
              </a:ext>
            </a:extLst>
          </p:cNvPr>
          <p:cNvGrpSpPr/>
          <p:nvPr/>
        </p:nvGrpSpPr>
        <p:grpSpPr>
          <a:xfrm>
            <a:off x="7178545" y="792000"/>
            <a:ext cx="2199604" cy="1884684"/>
            <a:chOff x="7178545" y="792000"/>
            <a:chExt cx="2199604" cy="1884684"/>
          </a:xfrm>
        </p:grpSpPr>
        <p:sp>
          <p:nvSpPr>
            <p:cNvPr id="34" name="Retângulo 33">
              <a:extLst>
                <a:ext uri="{FF2B5EF4-FFF2-40B4-BE49-F238E27FC236}">
                  <a16:creationId xmlns:a16="http://schemas.microsoft.com/office/drawing/2014/main" id="{C478762D-68B7-B3A8-BE24-A7FFE0E434AF}"/>
                </a:ext>
              </a:extLst>
            </p:cNvPr>
            <p:cNvSpPr/>
            <p:nvPr/>
          </p:nvSpPr>
          <p:spPr>
            <a:xfrm>
              <a:off x="7178545"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7" name="Imagem 16">
              <a:extLst>
                <a:ext uri="{FF2B5EF4-FFF2-40B4-BE49-F238E27FC236}">
                  <a16:creationId xmlns:a16="http://schemas.microsoft.com/office/drawing/2014/main" id="{E21EF773-9985-5393-1A06-BC9500D5C688}"/>
                </a:ext>
              </a:extLst>
            </p:cNvPr>
            <p:cNvPicPr>
              <a:picLocks noChangeAspect="1"/>
            </p:cNvPicPr>
            <p:nvPr/>
          </p:nvPicPr>
          <p:blipFill>
            <a:blip r:embed="rId7"/>
            <a:stretch>
              <a:fillRect/>
            </a:stretch>
          </p:blipFill>
          <p:spPr>
            <a:xfrm>
              <a:off x="7838831" y="1734342"/>
              <a:ext cx="879032" cy="879032"/>
            </a:xfrm>
            <a:prstGeom prst="rect">
              <a:avLst/>
            </a:prstGeom>
          </p:spPr>
        </p:pic>
        <p:pic>
          <p:nvPicPr>
            <p:cNvPr id="19" name="Imagem 18">
              <a:extLst>
                <a:ext uri="{FF2B5EF4-FFF2-40B4-BE49-F238E27FC236}">
                  <a16:creationId xmlns:a16="http://schemas.microsoft.com/office/drawing/2014/main" id="{CDF15F5E-D50F-00F5-75BE-3E2A24B5E326}"/>
                </a:ext>
              </a:extLst>
            </p:cNvPr>
            <p:cNvPicPr>
              <a:picLocks noChangeAspect="1"/>
            </p:cNvPicPr>
            <p:nvPr/>
          </p:nvPicPr>
          <p:blipFill>
            <a:blip r:embed="rId8"/>
            <a:stretch>
              <a:fillRect/>
            </a:stretch>
          </p:blipFill>
          <p:spPr>
            <a:xfrm>
              <a:off x="7242988" y="892952"/>
              <a:ext cx="879032" cy="879032"/>
            </a:xfrm>
            <a:prstGeom prst="rect">
              <a:avLst/>
            </a:prstGeom>
          </p:spPr>
        </p:pic>
        <p:pic>
          <p:nvPicPr>
            <p:cNvPr id="22" name="Imagem 21">
              <a:extLst>
                <a:ext uri="{FF2B5EF4-FFF2-40B4-BE49-F238E27FC236}">
                  <a16:creationId xmlns:a16="http://schemas.microsoft.com/office/drawing/2014/main" id="{07EE1A52-30F5-2726-0FB8-E2ABDE1188C1}"/>
                </a:ext>
              </a:extLst>
            </p:cNvPr>
            <p:cNvPicPr>
              <a:picLocks noChangeAspect="1"/>
            </p:cNvPicPr>
            <p:nvPr/>
          </p:nvPicPr>
          <p:blipFill>
            <a:blip r:embed="rId9"/>
            <a:stretch>
              <a:fillRect/>
            </a:stretch>
          </p:blipFill>
          <p:spPr>
            <a:xfrm>
              <a:off x="8389744" y="877721"/>
              <a:ext cx="879032" cy="879032"/>
            </a:xfrm>
            <a:prstGeom prst="rect">
              <a:avLst/>
            </a:prstGeom>
          </p:spPr>
        </p:pic>
      </p:grpSp>
    </p:spTree>
    <p:extLst>
      <p:ext uri="{BB962C8B-B14F-4D97-AF65-F5344CB8AC3E}">
        <p14:creationId xmlns:p14="http://schemas.microsoft.com/office/powerpoint/2010/main" val="3153287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8" name="Retângulo 17">
            <a:extLst>
              <a:ext uri="{FF2B5EF4-FFF2-40B4-BE49-F238E27FC236}">
                <a16:creationId xmlns:a16="http://schemas.microsoft.com/office/drawing/2014/main" id="{B11A78AB-2F41-D003-8F47-D35B0E41474E}"/>
              </a:ext>
            </a:extLst>
          </p:cNvPr>
          <p:cNvSpPr/>
          <p:nvPr/>
        </p:nvSpPr>
        <p:spPr>
          <a:xfrm>
            <a:off x="2727765" y="791521"/>
            <a:ext cx="6650384" cy="5273999"/>
          </a:xfrm>
          <a:prstGeom prst="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3836" y="2984326"/>
            <a:ext cx="2991601" cy="3034338"/>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Agrupar 25">
            <a:extLst>
              <a:ext uri="{FF2B5EF4-FFF2-40B4-BE49-F238E27FC236}">
                <a16:creationId xmlns:a16="http://schemas.microsoft.com/office/drawing/2014/main" id="{0E5276EB-5BDD-0FA7-1C1C-69968CA518AB}"/>
              </a:ext>
            </a:extLst>
          </p:cNvPr>
          <p:cNvGrpSpPr/>
          <p:nvPr/>
        </p:nvGrpSpPr>
        <p:grpSpPr>
          <a:xfrm>
            <a:off x="2746504" y="791999"/>
            <a:ext cx="2199604" cy="1884684"/>
            <a:chOff x="528161" y="791999"/>
            <a:chExt cx="2199604" cy="1884684"/>
          </a:xfrm>
        </p:grpSpPr>
        <p:sp>
          <p:nvSpPr>
            <p:cNvPr id="27" name="Retângulo 26">
              <a:extLst>
                <a:ext uri="{FF2B5EF4-FFF2-40B4-BE49-F238E27FC236}">
                  <a16:creationId xmlns:a16="http://schemas.microsoft.com/office/drawing/2014/main" id="{C57E24D5-33C8-6F53-BC38-8982580A83A1}"/>
                </a:ext>
              </a:extLst>
            </p:cNvPr>
            <p:cNvSpPr/>
            <p:nvPr/>
          </p:nvSpPr>
          <p:spPr>
            <a:xfrm>
              <a:off x="528161" y="791999"/>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83041D98-CA91-7B7A-5346-4BA7F53B9CBC}"/>
                </a:ext>
              </a:extLst>
            </p:cNvPr>
            <p:cNvPicPr>
              <a:picLocks noChangeAspect="1"/>
            </p:cNvPicPr>
            <p:nvPr/>
          </p:nvPicPr>
          <p:blipFill>
            <a:blip r:embed="rId4"/>
            <a:stretch>
              <a:fillRect/>
            </a:stretch>
          </p:blipFill>
          <p:spPr>
            <a:xfrm>
              <a:off x="758922" y="892951"/>
              <a:ext cx="1679477" cy="1679477"/>
            </a:xfrm>
            <a:prstGeom prst="rect">
              <a:avLst/>
            </a:prstGeom>
          </p:spPr>
        </p:pic>
      </p:grpSp>
      <p:grpSp>
        <p:nvGrpSpPr>
          <p:cNvPr id="35" name="Agrupar 34">
            <a:extLst>
              <a:ext uri="{FF2B5EF4-FFF2-40B4-BE49-F238E27FC236}">
                <a16:creationId xmlns:a16="http://schemas.microsoft.com/office/drawing/2014/main" id="{CC2011BB-7EC1-AF49-613C-0D9D92FCF485}"/>
              </a:ext>
            </a:extLst>
          </p:cNvPr>
          <p:cNvGrpSpPr/>
          <p:nvPr/>
        </p:nvGrpSpPr>
        <p:grpSpPr>
          <a:xfrm>
            <a:off x="4964847" y="2498056"/>
            <a:ext cx="2288323" cy="1884684"/>
            <a:chOff x="3404329" y="792000"/>
            <a:chExt cx="2288323" cy="1884684"/>
          </a:xfrm>
        </p:grpSpPr>
        <p:sp>
          <p:nvSpPr>
            <p:cNvPr id="28" name="Retângulo 27">
              <a:extLst>
                <a:ext uri="{FF2B5EF4-FFF2-40B4-BE49-F238E27FC236}">
                  <a16:creationId xmlns:a16="http://schemas.microsoft.com/office/drawing/2014/main" id="{2EEAE1E1-4DE4-6D0A-19E3-D945EE098F64}"/>
                </a:ext>
              </a:extLst>
            </p:cNvPr>
            <p:cNvSpPr/>
            <p:nvPr/>
          </p:nvSpPr>
          <p:spPr>
            <a:xfrm>
              <a:off x="3406716"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 name="Imagem 8">
              <a:extLst>
                <a:ext uri="{FF2B5EF4-FFF2-40B4-BE49-F238E27FC236}">
                  <a16:creationId xmlns:a16="http://schemas.microsoft.com/office/drawing/2014/main" id="{A3078529-0506-865D-669E-BDCF15119B00}"/>
                </a:ext>
              </a:extLst>
            </p:cNvPr>
            <p:cNvPicPr>
              <a:picLocks noChangeAspect="1"/>
            </p:cNvPicPr>
            <p:nvPr/>
          </p:nvPicPr>
          <p:blipFill>
            <a:blip r:embed="rId5"/>
            <a:stretch>
              <a:fillRect/>
            </a:stretch>
          </p:blipFill>
          <p:spPr>
            <a:xfrm>
              <a:off x="3702189" y="1378486"/>
              <a:ext cx="1298198" cy="1298198"/>
            </a:xfrm>
            <a:prstGeom prst="rect">
              <a:avLst/>
            </a:prstGeom>
          </p:spPr>
        </p:pic>
        <p:pic>
          <p:nvPicPr>
            <p:cNvPr id="11" name="Imagem 10">
              <a:extLst>
                <a:ext uri="{FF2B5EF4-FFF2-40B4-BE49-F238E27FC236}">
                  <a16:creationId xmlns:a16="http://schemas.microsoft.com/office/drawing/2014/main" id="{B3E1AF1B-6B5F-70BF-5079-C87DD01CB9CD}"/>
                </a:ext>
              </a:extLst>
            </p:cNvPr>
            <p:cNvPicPr>
              <a:picLocks noChangeAspect="1"/>
            </p:cNvPicPr>
            <p:nvPr/>
          </p:nvPicPr>
          <p:blipFill>
            <a:blip r:embed="rId6"/>
            <a:stretch>
              <a:fillRect/>
            </a:stretch>
          </p:blipFill>
          <p:spPr>
            <a:xfrm>
              <a:off x="4962725" y="792000"/>
              <a:ext cx="729927" cy="729927"/>
            </a:xfrm>
            <a:prstGeom prst="rect">
              <a:avLst/>
            </a:prstGeom>
          </p:spPr>
        </p:pic>
        <p:pic>
          <p:nvPicPr>
            <p:cNvPr id="13" name="Imagem 12">
              <a:extLst>
                <a:ext uri="{FF2B5EF4-FFF2-40B4-BE49-F238E27FC236}">
                  <a16:creationId xmlns:a16="http://schemas.microsoft.com/office/drawing/2014/main" id="{2D51B37D-2DD7-9FB5-FDCA-789969FCEC86}"/>
                </a:ext>
              </a:extLst>
            </p:cNvPr>
            <p:cNvPicPr>
              <a:picLocks noChangeAspect="1"/>
            </p:cNvPicPr>
            <p:nvPr/>
          </p:nvPicPr>
          <p:blipFill>
            <a:blip r:embed="rId7"/>
            <a:stretch>
              <a:fillRect/>
            </a:stretch>
          </p:blipFill>
          <p:spPr>
            <a:xfrm>
              <a:off x="3404329" y="792000"/>
              <a:ext cx="729927" cy="729927"/>
            </a:xfrm>
            <a:prstGeom prst="rect">
              <a:avLst/>
            </a:prstGeom>
          </p:spPr>
        </p:pic>
      </p:grpSp>
      <p:grpSp>
        <p:nvGrpSpPr>
          <p:cNvPr id="36" name="Agrupar 35">
            <a:extLst>
              <a:ext uri="{FF2B5EF4-FFF2-40B4-BE49-F238E27FC236}">
                <a16:creationId xmlns:a16="http://schemas.microsoft.com/office/drawing/2014/main" id="{15F65990-EC6F-3854-5B71-F20121FB2B81}"/>
              </a:ext>
            </a:extLst>
          </p:cNvPr>
          <p:cNvGrpSpPr/>
          <p:nvPr/>
        </p:nvGrpSpPr>
        <p:grpSpPr>
          <a:xfrm>
            <a:off x="7178545" y="4180836"/>
            <a:ext cx="2199604" cy="1884684"/>
            <a:chOff x="7178545" y="792000"/>
            <a:chExt cx="2199604" cy="1884684"/>
          </a:xfrm>
        </p:grpSpPr>
        <p:sp>
          <p:nvSpPr>
            <p:cNvPr id="34" name="Retângulo 33">
              <a:extLst>
                <a:ext uri="{FF2B5EF4-FFF2-40B4-BE49-F238E27FC236}">
                  <a16:creationId xmlns:a16="http://schemas.microsoft.com/office/drawing/2014/main" id="{C478762D-68B7-B3A8-BE24-A7FFE0E434AF}"/>
                </a:ext>
              </a:extLst>
            </p:cNvPr>
            <p:cNvSpPr/>
            <p:nvPr/>
          </p:nvSpPr>
          <p:spPr>
            <a:xfrm>
              <a:off x="7178545"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7" name="Imagem 16">
              <a:extLst>
                <a:ext uri="{FF2B5EF4-FFF2-40B4-BE49-F238E27FC236}">
                  <a16:creationId xmlns:a16="http://schemas.microsoft.com/office/drawing/2014/main" id="{E21EF773-9985-5393-1A06-BC9500D5C688}"/>
                </a:ext>
              </a:extLst>
            </p:cNvPr>
            <p:cNvPicPr>
              <a:picLocks noChangeAspect="1"/>
            </p:cNvPicPr>
            <p:nvPr/>
          </p:nvPicPr>
          <p:blipFill>
            <a:blip r:embed="rId8"/>
            <a:stretch>
              <a:fillRect/>
            </a:stretch>
          </p:blipFill>
          <p:spPr>
            <a:xfrm>
              <a:off x="7838831" y="1734342"/>
              <a:ext cx="879032" cy="879032"/>
            </a:xfrm>
            <a:prstGeom prst="rect">
              <a:avLst/>
            </a:prstGeom>
          </p:spPr>
        </p:pic>
        <p:pic>
          <p:nvPicPr>
            <p:cNvPr id="19" name="Imagem 18">
              <a:extLst>
                <a:ext uri="{FF2B5EF4-FFF2-40B4-BE49-F238E27FC236}">
                  <a16:creationId xmlns:a16="http://schemas.microsoft.com/office/drawing/2014/main" id="{CDF15F5E-D50F-00F5-75BE-3E2A24B5E326}"/>
                </a:ext>
              </a:extLst>
            </p:cNvPr>
            <p:cNvPicPr>
              <a:picLocks noChangeAspect="1"/>
            </p:cNvPicPr>
            <p:nvPr/>
          </p:nvPicPr>
          <p:blipFill>
            <a:blip r:embed="rId9"/>
            <a:stretch>
              <a:fillRect/>
            </a:stretch>
          </p:blipFill>
          <p:spPr>
            <a:xfrm>
              <a:off x="7242988" y="892952"/>
              <a:ext cx="879032" cy="879032"/>
            </a:xfrm>
            <a:prstGeom prst="rect">
              <a:avLst/>
            </a:prstGeom>
          </p:spPr>
        </p:pic>
        <p:pic>
          <p:nvPicPr>
            <p:cNvPr id="22" name="Imagem 21">
              <a:extLst>
                <a:ext uri="{FF2B5EF4-FFF2-40B4-BE49-F238E27FC236}">
                  <a16:creationId xmlns:a16="http://schemas.microsoft.com/office/drawing/2014/main" id="{07EE1A52-30F5-2726-0FB8-E2ABDE1188C1}"/>
                </a:ext>
              </a:extLst>
            </p:cNvPr>
            <p:cNvPicPr>
              <a:picLocks noChangeAspect="1"/>
            </p:cNvPicPr>
            <p:nvPr/>
          </p:nvPicPr>
          <p:blipFill>
            <a:blip r:embed="rId10"/>
            <a:stretch>
              <a:fillRect/>
            </a:stretch>
          </p:blipFill>
          <p:spPr>
            <a:xfrm>
              <a:off x="8389744" y="877721"/>
              <a:ext cx="879032" cy="879032"/>
            </a:xfrm>
            <a:prstGeom prst="rect">
              <a:avLst/>
            </a:prstGeom>
          </p:spPr>
        </p:pic>
      </p:grpSp>
    </p:spTree>
    <p:extLst>
      <p:ext uri="{BB962C8B-B14F-4D97-AF65-F5344CB8AC3E}">
        <p14:creationId xmlns:p14="http://schemas.microsoft.com/office/powerpoint/2010/main" val="650019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8" name="Retângulo 17">
            <a:extLst>
              <a:ext uri="{FF2B5EF4-FFF2-40B4-BE49-F238E27FC236}">
                <a16:creationId xmlns:a16="http://schemas.microsoft.com/office/drawing/2014/main" id="{B11A78AB-2F41-D003-8F47-D35B0E41474E}"/>
              </a:ext>
            </a:extLst>
          </p:cNvPr>
          <p:cNvSpPr/>
          <p:nvPr/>
        </p:nvSpPr>
        <p:spPr>
          <a:xfrm>
            <a:off x="2727765" y="791521"/>
            <a:ext cx="6650384" cy="5273999"/>
          </a:xfrm>
          <a:prstGeom prst="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3836" y="2984326"/>
            <a:ext cx="2991601" cy="3034338"/>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Agrupar 34">
            <a:extLst>
              <a:ext uri="{FF2B5EF4-FFF2-40B4-BE49-F238E27FC236}">
                <a16:creationId xmlns:a16="http://schemas.microsoft.com/office/drawing/2014/main" id="{CC2011BB-7EC1-AF49-613C-0D9D92FCF485}"/>
              </a:ext>
            </a:extLst>
          </p:cNvPr>
          <p:cNvGrpSpPr/>
          <p:nvPr/>
        </p:nvGrpSpPr>
        <p:grpSpPr>
          <a:xfrm>
            <a:off x="4964847" y="2498056"/>
            <a:ext cx="2288323" cy="1884684"/>
            <a:chOff x="3404329" y="792000"/>
            <a:chExt cx="2288323" cy="1884684"/>
          </a:xfrm>
        </p:grpSpPr>
        <p:sp>
          <p:nvSpPr>
            <p:cNvPr id="28" name="Retângulo 27">
              <a:extLst>
                <a:ext uri="{FF2B5EF4-FFF2-40B4-BE49-F238E27FC236}">
                  <a16:creationId xmlns:a16="http://schemas.microsoft.com/office/drawing/2014/main" id="{2EEAE1E1-4DE4-6D0A-19E3-D945EE098F64}"/>
                </a:ext>
              </a:extLst>
            </p:cNvPr>
            <p:cNvSpPr/>
            <p:nvPr/>
          </p:nvSpPr>
          <p:spPr>
            <a:xfrm>
              <a:off x="3406716"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 name="Imagem 8">
              <a:extLst>
                <a:ext uri="{FF2B5EF4-FFF2-40B4-BE49-F238E27FC236}">
                  <a16:creationId xmlns:a16="http://schemas.microsoft.com/office/drawing/2014/main" id="{A3078529-0506-865D-669E-BDCF15119B00}"/>
                </a:ext>
              </a:extLst>
            </p:cNvPr>
            <p:cNvPicPr>
              <a:picLocks noChangeAspect="1"/>
            </p:cNvPicPr>
            <p:nvPr/>
          </p:nvPicPr>
          <p:blipFill>
            <a:blip r:embed="rId4"/>
            <a:stretch>
              <a:fillRect/>
            </a:stretch>
          </p:blipFill>
          <p:spPr>
            <a:xfrm>
              <a:off x="3702189" y="1378486"/>
              <a:ext cx="1298198" cy="1298198"/>
            </a:xfrm>
            <a:prstGeom prst="rect">
              <a:avLst/>
            </a:prstGeom>
          </p:spPr>
        </p:pic>
        <p:pic>
          <p:nvPicPr>
            <p:cNvPr id="11" name="Imagem 10">
              <a:extLst>
                <a:ext uri="{FF2B5EF4-FFF2-40B4-BE49-F238E27FC236}">
                  <a16:creationId xmlns:a16="http://schemas.microsoft.com/office/drawing/2014/main" id="{B3E1AF1B-6B5F-70BF-5079-C87DD01CB9CD}"/>
                </a:ext>
              </a:extLst>
            </p:cNvPr>
            <p:cNvPicPr>
              <a:picLocks noChangeAspect="1"/>
            </p:cNvPicPr>
            <p:nvPr/>
          </p:nvPicPr>
          <p:blipFill>
            <a:blip r:embed="rId5"/>
            <a:stretch>
              <a:fillRect/>
            </a:stretch>
          </p:blipFill>
          <p:spPr>
            <a:xfrm>
              <a:off x="4962725" y="792000"/>
              <a:ext cx="729927" cy="729927"/>
            </a:xfrm>
            <a:prstGeom prst="rect">
              <a:avLst/>
            </a:prstGeom>
          </p:spPr>
        </p:pic>
        <p:pic>
          <p:nvPicPr>
            <p:cNvPr id="13" name="Imagem 12">
              <a:extLst>
                <a:ext uri="{FF2B5EF4-FFF2-40B4-BE49-F238E27FC236}">
                  <a16:creationId xmlns:a16="http://schemas.microsoft.com/office/drawing/2014/main" id="{2D51B37D-2DD7-9FB5-FDCA-789969FCEC86}"/>
                </a:ext>
              </a:extLst>
            </p:cNvPr>
            <p:cNvPicPr>
              <a:picLocks noChangeAspect="1"/>
            </p:cNvPicPr>
            <p:nvPr/>
          </p:nvPicPr>
          <p:blipFill>
            <a:blip r:embed="rId6"/>
            <a:stretch>
              <a:fillRect/>
            </a:stretch>
          </p:blipFill>
          <p:spPr>
            <a:xfrm>
              <a:off x="3404329" y="792000"/>
              <a:ext cx="729927" cy="729927"/>
            </a:xfrm>
            <a:prstGeom prst="rect">
              <a:avLst/>
            </a:prstGeom>
          </p:spPr>
        </p:pic>
      </p:grpSp>
      <p:grpSp>
        <p:nvGrpSpPr>
          <p:cNvPr id="36" name="Agrupar 35">
            <a:extLst>
              <a:ext uri="{FF2B5EF4-FFF2-40B4-BE49-F238E27FC236}">
                <a16:creationId xmlns:a16="http://schemas.microsoft.com/office/drawing/2014/main" id="{15F65990-EC6F-3854-5B71-F20121FB2B81}"/>
              </a:ext>
            </a:extLst>
          </p:cNvPr>
          <p:cNvGrpSpPr/>
          <p:nvPr/>
        </p:nvGrpSpPr>
        <p:grpSpPr>
          <a:xfrm>
            <a:off x="7178545" y="4180836"/>
            <a:ext cx="2199604" cy="1884684"/>
            <a:chOff x="7178545" y="792000"/>
            <a:chExt cx="2199604" cy="1884684"/>
          </a:xfrm>
        </p:grpSpPr>
        <p:sp>
          <p:nvSpPr>
            <p:cNvPr id="34" name="Retângulo 33">
              <a:extLst>
                <a:ext uri="{FF2B5EF4-FFF2-40B4-BE49-F238E27FC236}">
                  <a16:creationId xmlns:a16="http://schemas.microsoft.com/office/drawing/2014/main" id="{C478762D-68B7-B3A8-BE24-A7FFE0E434AF}"/>
                </a:ext>
              </a:extLst>
            </p:cNvPr>
            <p:cNvSpPr/>
            <p:nvPr/>
          </p:nvSpPr>
          <p:spPr>
            <a:xfrm>
              <a:off x="7178545"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7" name="Imagem 16">
              <a:extLst>
                <a:ext uri="{FF2B5EF4-FFF2-40B4-BE49-F238E27FC236}">
                  <a16:creationId xmlns:a16="http://schemas.microsoft.com/office/drawing/2014/main" id="{E21EF773-9985-5393-1A06-BC9500D5C688}"/>
                </a:ext>
              </a:extLst>
            </p:cNvPr>
            <p:cNvPicPr>
              <a:picLocks noChangeAspect="1"/>
            </p:cNvPicPr>
            <p:nvPr/>
          </p:nvPicPr>
          <p:blipFill>
            <a:blip r:embed="rId7"/>
            <a:stretch>
              <a:fillRect/>
            </a:stretch>
          </p:blipFill>
          <p:spPr>
            <a:xfrm>
              <a:off x="7838831" y="1734342"/>
              <a:ext cx="879032" cy="879032"/>
            </a:xfrm>
            <a:prstGeom prst="rect">
              <a:avLst/>
            </a:prstGeom>
          </p:spPr>
        </p:pic>
        <p:pic>
          <p:nvPicPr>
            <p:cNvPr id="19" name="Imagem 18">
              <a:extLst>
                <a:ext uri="{FF2B5EF4-FFF2-40B4-BE49-F238E27FC236}">
                  <a16:creationId xmlns:a16="http://schemas.microsoft.com/office/drawing/2014/main" id="{CDF15F5E-D50F-00F5-75BE-3E2A24B5E326}"/>
                </a:ext>
              </a:extLst>
            </p:cNvPr>
            <p:cNvPicPr>
              <a:picLocks noChangeAspect="1"/>
            </p:cNvPicPr>
            <p:nvPr/>
          </p:nvPicPr>
          <p:blipFill>
            <a:blip r:embed="rId8"/>
            <a:stretch>
              <a:fillRect/>
            </a:stretch>
          </p:blipFill>
          <p:spPr>
            <a:xfrm>
              <a:off x="7242988" y="892952"/>
              <a:ext cx="879032" cy="879032"/>
            </a:xfrm>
            <a:prstGeom prst="rect">
              <a:avLst/>
            </a:prstGeom>
          </p:spPr>
        </p:pic>
        <p:pic>
          <p:nvPicPr>
            <p:cNvPr id="22" name="Imagem 21">
              <a:extLst>
                <a:ext uri="{FF2B5EF4-FFF2-40B4-BE49-F238E27FC236}">
                  <a16:creationId xmlns:a16="http://schemas.microsoft.com/office/drawing/2014/main" id="{07EE1A52-30F5-2726-0FB8-E2ABDE1188C1}"/>
                </a:ext>
              </a:extLst>
            </p:cNvPr>
            <p:cNvPicPr>
              <a:picLocks noChangeAspect="1"/>
            </p:cNvPicPr>
            <p:nvPr/>
          </p:nvPicPr>
          <p:blipFill>
            <a:blip r:embed="rId9"/>
            <a:stretch>
              <a:fillRect/>
            </a:stretch>
          </p:blipFill>
          <p:spPr>
            <a:xfrm>
              <a:off x="8389744" y="877721"/>
              <a:ext cx="879032" cy="879032"/>
            </a:xfrm>
            <a:prstGeom prst="rect">
              <a:avLst/>
            </a:prstGeom>
          </p:spPr>
        </p:pic>
      </p:grpSp>
    </p:spTree>
    <p:extLst>
      <p:ext uri="{BB962C8B-B14F-4D97-AF65-F5344CB8AC3E}">
        <p14:creationId xmlns:p14="http://schemas.microsoft.com/office/powerpoint/2010/main" val="10208702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27143"/>
          </a:xfrm>
          <a:prstGeom prst="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sp>
        <p:nvSpPr>
          <p:cNvPr id="21" name="Retângulo 20">
            <a:extLst>
              <a:ext uri="{FF2B5EF4-FFF2-40B4-BE49-F238E27FC236}">
                <a16:creationId xmlns:a16="http://schemas.microsoft.com/office/drawing/2014/main" id="{C8405C7B-DFB8-1481-D378-2867585425C3}"/>
              </a:ext>
            </a:extLst>
          </p:cNvPr>
          <p:cNvSpPr/>
          <p:nvPr/>
        </p:nvSpPr>
        <p:spPr>
          <a:xfrm>
            <a:off x="334949" y="792000"/>
            <a:ext cx="3791238" cy="2614493"/>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11954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pic>
        <p:nvPicPr>
          <p:cNvPr id="30" name="Imagem 29">
            <a:extLst>
              <a:ext uri="{FF2B5EF4-FFF2-40B4-BE49-F238E27FC236}">
                <a16:creationId xmlns:a16="http://schemas.microsoft.com/office/drawing/2014/main" id="{9AAAC555-0BE5-CDCF-2C8F-E7C228D817B4}"/>
              </a:ext>
            </a:extLst>
          </p:cNvPr>
          <p:cNvPicPr>
            <a:picLocks noChangeAspect="1"/>
          </p:cNvPicPr>
          <p:nvPr/>
        </p:nvPicPr>
        <p:blipFill rotWithShape="1">
          <a:blip r:embed="rId11">
            <a:clrChange>
              <a:clrFrom>
                <a:srgbClr val="FFFFFF"/>
              </a:clrFrom>
              <a:clrTo>
                <a:srgbClr val="FFFFFF">
                  <a:alpha val="0"/>
                </a:srgbClr>
              </a:clrTo>
            </a:clrChange>
          </a:blip>
          <a:srcRect l="4977" t="1646" r="4733" b="1905"/>
          <a:stretch/>
        </p:blipFill>
        <p:spPr>
          <a:xfrm>
            <a:off x="4276159" y="922466"/>
            <a:ext cx="4926220" cy="497033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sp>
        <p:nvSpPr>
          <p:cNvPr id="28" name="Retângulo 27">
            <a:extLst>
              <a:ext uri="{FF2B5EF4-FFF2-40B4-BE49-F238E27FC236}">
                <a16:creationId xmlns:a16="http://schemas.microsoft.com/office/drawing/2014/main" id="{2904BA51-B35F-E2A0-06CD-CD7839017F26}"/>
              </a:ext>
            </a:extLst>
          </p:cNvPr>
          <p:cNvSpPr/>
          <p:nvPr/>
        </p:nvSpPr>
        <p:spPr>
          <a:xfrm>
            <a:off x="4126187" y="769974"/>
            <a:ext cx="5265434" cy="531805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9" name="Retângulo 28">
            <a:extLst>
              <a:ext uri="{FF2B5EF4-FFF2-40B4-BE49-F238E27FC236}">
                <a16:creationId xmlns:a16="http://schemas.microsoft.com/office/drawing/2014/main" id="{581169DF-C311-60B2-8091-86E248F6E665}"/>
              </a:ext>
            </a:extLst>
          </p:cNvPr>
          <p:cNvSpPr/>
          <p:nvPr/>
        </p:nvSpPr>
        <p:spPr>
          <a:xfrm>
            <a:off x="308004" y="3406493"/>
            <a:ext cx="3818183" cy="2659027"/>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4089747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27143"/>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28" name="Retângulo 27">
            <a:extLst>
              <a:ext uri="{FF2B5EF4-FFF2-40B4-BE49-F238E27FC236}">
                <a16:creationId xmlns:a16="http://schemas.microsoft.com/office/drawing/2014/main" id="{290365EE-6A43-04A6-0F1F-2BED47418CF2}"/>
              </a:ext>
            </a:extLst>
          </p:cNvPr>
          <p:cNvSpPr/>
          <p:nvPr/>
        </p:nvSpPr>
        <p:spPr>
          <a:xfrm>
            <a:off x="334949" y="3387382"/>
            <a:ext cx="3791238" cy="26312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pic>
        <p:nvPicPr>
          <p:cNvPr id="30" name="Imagem 29">
            <a:extLst>
              <a:ext uri="{FF2B5EF4-FFF2-40B4-BE49-F238E27FC236}">
                <a16:creationId xmlns:a16="http://schemas.microsoft.com/office/drawing/2014/main" id="{9AAAC555-0BE5-CDCF-2C8F-E7C228D817B4}"/>
              </a:ext>
            </a:extLst>
          </p:cNvPr>
          <p:cNvPicPr>
            <a:picLocks noChangeAspect="1"/>
          </p:cNvPicPr>
          <p:nvPr/>
        </p:nvPicPr>
        <p:blipFill rotWithShape="1">
          <a:blip r:embed="rId11">
            <a:clrChange>
              <a:clrFrom>
                <a:srgbClr val="FFFFFF"/>
              </a:clrFrom>
              <a:clrTo>
                <a:srgbClr val="FFFFFF">
                  <a:alpha val="0"/>
                </a:srgbClr>
              </a:clrTo>
            </a:clrChange>
          </a:blip>
          <a:srcRect l="4977" t="1646" r="4733" b="1905"/>
          <a:stretch/>
        </p:blipFill>
        <p:spPr>
          <a:xfrm>
            <a:off x="4276159" y="922466"/>
            <a:ext cx="4926220" cy="497033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sp>
        <p:nvSpPr>
          <p:cNvPr id="43" name="Retângulo 42">
            <a:extLst>
              <a:ext uri="{FF2B5EF4-FFF2-40B4-BE49-F238E27FC236}">
                <a16:creationId xmlns:a16="http://schemas.microsoft.com/office/drawing/2014/main" id="{AECEBFE8-6058-4FC2-F910-D9501F6B7976}"/>
              </a:ext>
            </a:extLst>
          </p:cNvPr>
          <p:cNvSpPr/>
          <p:nvPr/>
        </p:nvSpPr>
        <p:spPr>
          <a:xfrm>
            <a:off x="209550" y="682419"/>
            <a:ext cx="3930111" cy="2724552"/>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9" name="Retângulo 28">
            <a:extLst>
              <a:ext uri="{FF2B5EF4-FFF2-40B4-BE49-F238E27FC236}">
                <a16:creationId xmlns:a16="http://schemas.microsoft.com/office/drawing/2014/main" id="{30389D14-12F5-68E7-B839-1E722A26C1D2}"/>
              </a:ext>
            </a:extLst>
          </p:cNvPr>
          <p:cNvSpPr/>
          <p:nvPr/>
        </p:nvSpPr>
        <p:spPr>
          <a:xfrm>
            <a:off x="4126187" y="769974"/>
            <a:ext cx="5265434" cy="531805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2338436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ITA&quot; id=&quot;257_2&quot;&gt;&lt;standard&gt;&lt;textframe horizontalAnchor=&quot;1&quot; marginBottom=&quot;3.9&quot; marginLeft=&quot;0&quot; marginRight=&quot;0&quot; marginTop=&quot;3.9&quot; orientation=&quot;1&quot; verticalAnchor=&quot;3&quot; /&gt;&lt;font name=&quot;Calibri&quot; bold=&quot;0&quot; italic=&quot;0&quot; color=&quot;#555555&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22&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4.01575&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101.3594&quot; top=&quot;127.3626&quot; width=&quot;637.0775&quot; height=&quot;319.6261&quot; /&gt;&lt;title&gt;&lt;position left=&quot;26.37394&quot; top=&quot;10.17945&quot; width=&quot;712.063&quot; height=&quot;36.33401&quot; /&gt;&lt;font name=&quot;Calibri&quot; size=&quot;24&quot; color=&quot;#555555&quot; bold=&quot;1&quot; /&gt;&lt;textframe marginBottom=&quot;0&quot; marginTop=&quot;0&quot; marginLeft=&quot;0.25&quot; /&gt;&lt;paragraphformat alignment=&quot;1&quot; /&gt;&lt;/title&gt;&lt;settings allowedSizingModeIds=&quot;1|2&quot; allowedFontSizes=&quot;8|9|10.5|11|12|14|16|18&quot; allowedTimeFormatIds=&quot;1|2|3&quot; slideLayout=&quot;11&quot; customLayoutName=&quot;Título e conteúdo&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d2d2d2&quot; backColor=&quot;#e6e6e6&quot; visible=&quot;1&quot; gradientStyle=&quot;2&quot; gradientVariant=&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element&gt;&lt;element field=&quot;topic&quot; type=&quot;autoshape&quot; autoShapeType=&quot;1&quot; indent=&quot;(level-1)*(itemSingleHeight+topicLeftSpacing)&quot; indentType=&quot;2&quot;&gt;&lt;paragraphformat alignment=&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555555&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ont color=&quot;#ffffff&quot; /&gt;&lt;/element&gt;&lt;element field=&quot;topic&quot; type=&quot;autoshape&quot; autoShapeType=&quot;1&quot; indent=&quot;(level-1)*(itemSingleHeight+topicLeftSpacing)&quot; indentType=&quot;2&quot;&gt;&lt;paragraphformat alignment=&quot;1&quot; /&gt;&lt;font color=&quot;#ffffff&quot; /&gt;&lt;textframe marginLeft=&quot;6&quot; /&gt;&lt;/element&gt;&lt;element field=&quot;responsible&quot; type=&quot;autoshape&quot; autoShapeType=&quot;1&quot; indent=&quot;(level-1)*(itemSingleHeight+topicLeftSpacing)&quot; indentType=&quot;1&quot;&gt;&lt;paragraphformat alignment=&quot;1&quot; /&gt;&lt;font color=&quot;#ffffff&quot; /&gt;&lt;/element&gt;&lt;element field=&quot;freecolumn&quot; type=&quot;autoshape&quot; autoShapeType=&quot;1&quot; indent=&quot;(level-1)*(itemSingleHeight+topicLeftSpacing)&quot; indentType=&quot;1&quot;&gt;&lt;paragraphformat alignment=&quot;1&quot; /&gt;&lt;font color=&quot;#ffffff&quot; /&gt;&lt;/element&gt;&lt;element field=&quot;timeslot&quot; type=&quot;autoshape&quot; autoShapeType=&quot;1&quot;&gt;&lt;paragraphformat alignment=&quot;1&quot; /&gt;&lt;font color=&quot;#ffffff&quot; /&gt;&lt;/element&gt;&lt;element field=&quot;pageno&quot; type=&quot;autoshape&quot; autoShapeType=&quot;1&quot;&gt;&lt;paragraphformat alignment=&quot;3&quot; /&gt;&lt;font color=&quot;#ffffff&quot; /&gt;&lt;/element&gt;&lt;/case&gt;&lt;case level=&quot;1&quot; selected=&quot;0&quot; break=&quot;1&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d2d2d2&quot; backColor=&quot;#e6e6e6&quot; visible=&quot;1&quot; gradientStyle=&quot;2&quot; gradientVariant=&quot;1&quot; /&gt;&lt;/element&gt;&lt;element field=&quot;topic&quot; type=&quot;autoshape&quot; autoShapeType=&quot;1&quot; indent=&quot;(level-1)*(itemSingleHeight+topicLeftSpacing)&quot; indentType=&quot;2&quot;&gt;&lt;paragraphformat alignment=&quot;1&quot; /&gt;&lt;textframe marginLeft=&quot;6&quot; /&gt;&lt;fon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555555&quot; visible=&quot;1&quot; /&gt;&lt;/element&gt;&lt;element field=&quot;topic&quot; type=&quot;autoshape&quot; autoShapeType=&quot;1&quot; indent=&quot;(level-1)*(itemSingleHeight+topicLeftSpacing)&quot; indentType=&quot;2&quot;&gt;&lt;paragraphformat alignment=&quot;1&quot; /&gt;&lt;font color=&quot;#ffffff&quot; italic=&quot;1&quot; /&gt;&lt;textframe marginLeft=&quot;6&quot; /&gt;&lt;/element&gt;&lt;element field=&quot;responsible&quot; type=&quot;autoshape&quot; autoShapeType=&quot;1&quot; indent=&quot;(level-1)*(itemSingleHeight+topicLeftSpacing)&quot; indentType=&quot;1&quot;&gt;&lt;paragraphformat alignment=&quot;1&quot; /&gt;&lt;font color=&quot;#ffffff&quot; italic=&quot;1&quot; /&gt;&lt;/element&gt;&lt;element field=&quot;freecolumn&quot; type=&quot;autoshape&quot; autoShapeType=&quot;1&quot; indent=&quot;(level-1)*(itemSingleHeight+topicLeftSpacing)&quot; indentType=&quot;1&quot;&gt;&lt;paragraphformat alignment=&quot;1&quot; /&gt;&lt;font color=&quot;#ffffff&quot; italic=&quot;1&quot; /&gt;&lt;/element&gt;&lt;element field=&quot;timeslot&quot; type=&quot;autoshape&quot; autoShapeType=&quot;1&quot;&gt;&lt;paragraphformat alignment=&quot;1&quot; /&gt;&lt;font color=&quot;#ffffff&quot; italic=&quot;1&quot; /&gt;&lt;/element&gt;&lt;element field=&quot;pageno&quot; type=&quot;autoshape&quot; autoShapeType=&quot;1&quot;&gt;&lt;paragraphformat alignment=&quot;3&quot; /&gt;&lt;font color=&quot;#ffffff&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22&quot; fontSizeAuto=&quot;1&quot; startTime=&quot;540&quot; timeFormatId=&quot;1&quot; startItemNo=&quot;1&quot; createSingleAgendaSlide=&quot;1&quot; createSeparatingSlides=&quot;1&quot; createBackupSlide=&quot;1&quot; layoutId=&quot;257_2&quot; createSections=&quot;0&quot; singleSlideId=&quot;c8fe68e8-b7f4-4d82-a8c1-6d6118165cc5&quot; backupSlideId=&quot;d4e55cf9-5d71-4703-b97d-2e041f557299&quot;&gt;&lt;columns&gt;&lt;column field=&quot;itemno&quot; label=&quot;No.&quot; checked=&quot;1&quot; leftSpacing=&quot;0&quot; rightSpacing=&quot;0&quot; dock=&quot;1&quot; fixedWidth=&quot;34.01575&quot; /&gt;&lt;column field=&quot;topic&quot; label=&quot;Topic&quot; leftSpacing=&quot;5&quot; rightDistribute=&quot;1&quot; dock=&quot;1&quot; rightSpacing=&quot;366.5729&quot; /&gt;&lt;column field=&quot;responsible&quot; label=&quot;Responsible&quot; visible=&quot;1&quot; checked=&quot;0&quot; leftSpacing=&quot;10&quot; rightDistribute=&quot;1&quot; dock=&quot;1&quot; rightSpacing=&quot;113.169&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111384a1-3de5-4bb1-a6c2-ecfbc3430316&quot; parentId=&quot;&quot; level=&quot;1&quot; generateAgendaSlide=&quot;1&quot; showAgendaItem=&quot;1&quot; isBreak=&quot;0&quot; topic=&quot;Introduction&quot; agendaSlideId=&quot;fb4163aa-6b1a-4dce-9cc5-1d1244a985a6&quot; /&gt;&lt;item duration=&quot;30&quot; id=&quot;6b708321-9f21-4007-8f04-7264397c6b98&quot; parentId=&quot;&quot; level=&quot;1&quot; generateAgendaSlide=&quot;1&quot; showAgendaItem=&quot;1&quot; isBreak=&quot;0&quot; topic=&quot;Objectives and Approach&quot; agendaSlideId=&quot;23c891e5-51bf-4129-8706-27ff6c041682&quot; /&gt;&lt;item duration=&quot;30&quot; id=&quot;38651f08-25a7-4874-bff2-fce3276f47bf&quot; parentId=&quot;&quot; level=&quot;1&quot; generateAgendaSlide=&quot;1&quot; showAgendaItem=&quot;1&quot; isBreak=&quot;0&quot; topic=&quot;Materials and Methods&quot; agendaSlideId=&quot;99293b63-2f69-44ce-9984-eb8a6da1714e&quot; /&gt;&lt;item duration=&quot;30&quot; id=&quot;775d14b3-6a93-4e81-b9be-b2d97f99c003&quot; parentId=&quot;&quot; level=&quot;1&quot; generateAgendaSlide=&quot;1&quot; showAgendaItem=&quot;1&quot; isBreak=&quot;0&quot; topic=&quot;Results and discussion&quot; agendaSlideId=&quot;adabc888-933b-4073-8e97-5e9b43badeb6&quot; /&gt;&lt;item duration=&quot;30&quot; id=&quot;eb8b1095-86ef-474d-bb94-542594205bb5&quot; parentId=&quot;&quot; level=&quot;1&quot; generateAgendaSlide=&quot;1&quot; showAgendaItem=&quot;1&quot; isBreak=&quot;0&quot; topic=&quot;Conclusion and outlook&quot; agendaSlideId=&quot;31268907-af52-4a54-8a93-17e5fe54116b&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SLIDEID" val="fb4163aa-6b1a-4dce-9cc5-1d1244a985a6"/>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xml><?xml version="1.0" encoding="utf-8"?>
<p:tagLst xmlns:a="http://schemas.openxmlformats.org/drawingml/2006/main" xmlns:r="http://schemas.openxmlformats.org/officeDocument/2006/relationships" xmlns:p="http://schemas.openxmlformats.org/presentationml/2006/main">
  <p:tag name="EE4P_SLIDEID" val="23c891e5-51bf-4129-8706-27ff6c04168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xml><?xml version="1.0" encoding="utf-8"?>
<p:tagLst xmlns:a="http://schemas.openxmlformats.org/drawingml/2006/main" xmlns:r="http://schemas.openxmlformats.org/officeDocument/2006/relationships" xmlns:p="http://schemas.openxmlformats.org/presentationml/2006/main">
  <p:tag name="EE4P_SLIDEID" val="99293b63-2f69-44ce-9984-eb8a6da1714e"/>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2.xml><?xml version="1.0" encoding="utf-8"?>
<p:tagLst xmlns:a="http://schemas.openxmlformats.org/drawingml/2006/main" xmlns:r="http://schemas.openxmlformats.org/officeDocument/2006/relationships" xmlns:p="http://schemas.openxmlformats.org/presentationml/2006/main">
  <p:tag name="EE4P_SLIDEID" val="adabc888-933b-4073-8e97-5e9b43badeb6"/>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xml><?xml version="1.0" encoding="utf-8"?>
<p:tagLst xmlns:a="http://schemas.openxmlformats.org/drawingml/2006/main" xmlns:r="http://schemas.openxmlformats.org/officeDocument/2006/relationships" xmlns:p="http://schemas.openxmlformats.org/presentationml/2006/main">
  <p:tag name="EE4P_SLIDEID" val="31268907-af52-4a54-8a93-17e5fe54116b"/>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95.xml><?xml version="1.0" encoding="utf-8"?>
<p:tagLst xmlns:a="http://schemas.openxmlformats.org/drawingml/2006/main" xmlns:r="http://schemas.openxmlformats.org/officeDocument/2006/relationships" xmlns:p="http://schemas.openxmlformats.org/presentationml/2006/main">
  <p:tag name="EE4P_AGENDAWIZARD" val="title"/>
</p:tagLst>
</file>

<file path=ppt/theme/theme1.xml><?xml version="1.0" encoding="utf-8"?>
<a:theme xmlns:a="http://schemas.openxmlformats.org/drawingml/2006/main" name="Tema do Office">
  <a:themeElements>
    <a:clrScheme name="Tema do 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Tema do Office">
  <a:themeElements>
    <a:clrScheme name="Escritório">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77</TotalTime>
  <Words>7985</Words>
  <Application>Microsoft Office PowerPoint</Application>
  <PresentationFormat>Personalizar</PresentationFormat>
  <Paragraphs>325</Paragraphs>
  <Slides>37</Slides>
  <Notes>32</Notes>
  <HiddenSlides>2</HiddenSlides>
  <MMClips>0</MMClips>
  <ScaleCrop>false</ScaleCrop>
  <HeadingPairs>
    <vt:vector size="6" baseType="variant">
      <vt:variant>
        <vt:lpstr>Fontes usadas</vt:lpstr>
      </vt:variant>
      <vt:variant>
        <vt:i4>8</vt:i4>
      </vt:variant>
      <vt:variant>
        <vt:lpstr>Tema</vt:lpstr>
      </vt:variant>
      <vt:variant>
        <vt:i4>1</vt:i4>
      </vt:variant>
      <vt:variant>
        <vt:lpstr>Títulos de slides</vt:lpstr>
      </vt:variant>
      <vt:variant>
        <vt:i4>37</vt:i4>
      </vt:variant>
    </vt:vector>
  </HeadingPairs>
  <TitlesOfParts>
    <vt:vector size="46" baseType="lpstr">
      <vt:lpstr>Arial</vt:lpstr>
      <vt:lpstr>Calibri</vt:lpstr>
      <vt:lpstr>CMB10</vt:lpstr>
      <vt:lpstr>CMBXTI10</vt:lpstr>
      <vt:lpstr>CMR12</vt:lpstr>
      <vt:lpstr>CMTI12</vt:lpstr>
      <vt:lpstr>Noto Sans Symbols</vt:lpstr>
      <vt:lpstr>SFRM1200</vt:lpstr>
      <vt:lpstr>Tema do Offic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Ivan de Souza Rehder</dc:creator>
  <cp:lastModifiedBy>Ivan de Souza Rehder</cp:lastModifiedBy>
  <cp:revision>14</cp:revision>
  <dcterms:modified xsi:type="dcterms:W3CDTF">2022-07-22T20:54:49Z</dcterms:modified>
</cp:coreProperties>
</file>